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1" r:id="rId1"/>
  </p:sldMasterIdLst>
  <p:notesMasterIdLst>
    <p:notesMasterId r:id="rId9"/>
  </p:notesMasterIdLst>
  <p:handoutMasterIdLst>
    <p:handoutMasterId r:id="rId10"/>
  </p:handoutMasterIdLst>
  <p:sldIdLst>
    <p:sldId id="268" r:id="rId2"/>
    <p:sldId id="269" r:id="rId3"/>
    <p:sldId id="270" r:id="rId4"/>
    <p:sldId id="271" r:id="rId5"/>
    <p:sldId id="272" r:id="rId6"/>
    <p:sldId id="273" r:id="rId7"/>
    <p:sldId id="274" r:id="rId8"/>
  </p:sldIdLst>
  <p:sldSz cx="12195175" cy="6858000"/>
  <p:notesSz cx="6858000" cy="9872663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liwa, Christian" initials="S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AD8A"/>
    <a:srgbClr val="685D57"/>
    <a:srgbClr val="9D958D"/>
    <a:srgbClr val="CCC6C0"/>
    <a:srgbClr val="DAD2BA"/>
    <a:srgbClr val="FF0000"/>
    <a:srgbClr val="78629C"/>
    <a:srgbClr val="ED9F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9091" autoAdjust="0"/>
    <p:restoredTop sz="92308" autoAdjust="0"/>
  </p:normalViewPr>
  <p:slideViewPr>
    <p:cSldViewPr>
      <p:cViewPr varScale="1">
        <p:scale>
          <a:sx n="114" d="100"/>
          <a:sy n="114" d="100"/>
        </p:scale>
        <p:origin x="-1266" y="-102"/>
      </p:cViewPr>
      <p:guideLst>
        <p:guide orient="horz" pos="1034"/>
        <p:guide orient="horz" pos="3758"/>
        <p:guide pos="7323"/>
        <p:guide pos="3959"/>
        <p:guide pos="3729"/>
        <p:guide pos="376"/>
        <p:guide pos="2761"/>
        <p:guide pos="4928"/>
        <p:guide pos="5157"/>
        <p:guide pos="6686"/>
        <p:guide pos="25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148" y="-108"/>
      </p:cViewPr>
      <p:guideLst>
        <p:guide orient="horz" pos="311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C9891-150F-43FF-9B81-597D3F9E0976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04.02.2019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6899"/>
            <a:ext cx="2972547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3852" y="9376899"/>
            <a:ext cx="2972547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07C88-AC26-4FB9-AD76-FF9A82C14D30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486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5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9888B592-4988-4068-AC3A-E1539BCA9C6A}" type="datetimeFigureOut">
              <a:rPr lang="de-DE" smtClean="0"/>
              <a:pPr/>
              <a:t>04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25425" y="739775"/>
            <a:ext cx="6450013" cy="362743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5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E5D6FF10-B940-4D4F-B97B-B9475F2D3A5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Notizenplatzhalter 7"/>
          <p:cNvSpPr>
            <a:spLocks noGrp="1"/>
          </p:cNvSpPr>
          <p:nvPr>
            <p:ph type="body" sz="quarter" idx="3"/>
          </p:nvPr>
        </p:nvSpPr>
        <p:spPr bwMode="gray">
          <a:xfrm>
            <a:off x="181596" y="4530617"/>
            <a:ext cx="6537506" cy="465455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520149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fontAlgn="base" latinLnBrk="0" hangingPunct="1">
      <a:lnSpc>
        <a:spcPct val="100000"/>
      </a:lnSpc>
      <a:spcAft>
        <a:spcPts val="300"/>
      </a:spcAft>
      <a:buFont typeface="Arial" pitchFamily="34" charset="0"/>
      <a:defRPr lang="de-DE" sz="1200" b="1" kern="1200" dirty="0" smtClean="0">
        <a:solidFill>
          <a:schemeClr val="tx2"/>
        </a:solidFill>
        <a:latin typeface="Arial" panose="020B0604020202020204" pitchFamily="34" charset="0"/>
        <a:ea typeface="+mn-ea"/>
        <a:cs typeface="Arial" pitchFamily="34" charset="0"/>
      </a:defRPr>
    </a:lvl1pPr>
    <a:lvl2pPr marL="0" indent="0" algn="l" defTabSz="914400" rtl="0" eaLnBrk="1" fontAlgn="base" latinLnBrk="0" hangingPunct="1">
      <a:lnSpc>
        <a:spcPct val="100000"/>
      </a:lnSpc>
      <a:spcAft>
        <a:spcPts val="300"/>
      </a:spcAft>
      <a:buFont typeface="Arial" pitchFamily="34" charset="0"/>
      <a:defRPr lang="de-DE" sz="1200" b="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itchFamily="34" charset="0"/>
      </a:defRPr>
    </a:lvl2pPr>
    <a:lvl3pPr marL="144000" indent="-144000" algn="l" defTabSz="914400" rtl="0" eaLnBrk="1" fontAlgn="base" latinLnBrk="0" hangingPunct="1">
      <a:lnSpc>
        <a:spcPct val="100000"/>
      </a:lnSpc>
      <a:spcAft>
        <a:spcPts val="300"/>
      </a:spcAft>
      <a:buClr>
        <a:schemeClr val="tx2"/>
      </a:buClr>
      <a:buSzPct val="150000"/>
      <a:buFont typeface="Arial" panose="020B0604020202020204" pitchFamily="34" charset="0"/>
      <a:buChar char="▪"/>
      <a:defRPr lang="de-DE" sz="1200" b="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itchFamily="34" charset="0"/>
      </a:defRPr>
    </a:lvl3pPr>
    <a:lvl4pPr marL="288000" indent="-144000" algn="l" defTabSz="914400" rtl="0" eaLnBrk="1" fontAlgn="base" latinLnBrk="0" hangingPunct="1">
      <a:lnSpc>
        <a:spcPct val="100000"/>
      </a:lnSpc>
      <a:spcAft>
        <a:spcPts val="300"/>
      </a:spcAft>
      <a:buClr>
        <a:srgbClr val="9D958D"/>
      </a:buClr>
      <a:buSzPct val="150000"/>
      <a:buFont typeface="Arial" panose="020B0604020202020204" pitchFamily="34" charset="0"/>
      <a:buChar char="▪"/>
      <a:defRPr lang="de-DE" sz="1200" b="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itchFamily="34" charset="0"/>
      </a:defRPr>
    </a:lvl4pPr>
    <a:lvl5pPr marL="432000" indent="-144000" algn="l" defTabSz="914400" rtl="0" eaLnBrk="1" fontAlgn="base" latinLnBrk="0" hangingPunct="1">
      <a:lnSpc>
        <a:spcPct val="100000"/>
      </a:lnSpc>
      <a:spcAft>
        <a:spcPts val="300"/>
      </a:spcAft>
      <a:buClr>
        <a:schemeClr val="tx2"/>
      </a:buClr>
      <a:buFont typeface="Arial" panose="020B0604020202020204" pitchFamily="34" charset="0"/>
      <a:buChar char="–"/>
      <a:defRPr lang="de-DE" sz="1200" b="0" kern="1200" baseline="0" dirty="0" smtClean="0">
        <a:solidFill>
          <a:schemeClr val="tx2"/>
        </a:solidFill>
        <a:latin typeface="Arial" panose="020B0604020202020204" pitchFamily="34" charset="0"/>
        <a:ea typeface="+mn-ea"/>
        <a:cs typeface="Arial" pitchFamily="34" charset="0"/>
      </a:defRPr>
    </a:lvl5pPr>
    <a:lvl6pPr marL="0" indent="-144000" algn="l" defTabSz="914400" rtl="0" eaLnBrk="1" latinLnBrk="0" hangingPunct="1">
      <a:spcAft>
        <a:spcPts val="300"/>
      </a:spcAft>
      <a:buClr>
        <a:srgbClr val="FF0000"/>
      </a:buClr>
      <a:buSzPct val="70000"/>
      <a:buFont typeface="Arial" panose="020B0604020202020204" pitchFamily="34" charset="0"/>
      <a:buChar char="►"/>
      <a:defRPr lang="de-DE" sz="1200" kern="1200" baseline="0" dirty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144000" indent="-144000" algn="l" defTabSz="914400" rtl="0" eaLnBrk="1" latinLnBrk="0" hangingPunct="1">
      <a:spcAft>
        <a:spcPts val="300"/>
      </a:spcAft>
      <a:buClr>
        <a:srgbClr val="FF0000"/>
      </a:buClr>
      <a:buSzPct val="70000"/>
      <a:buFont typeface="Arial" panose="020B0604020202020204" pitchFamily="34" charset="0"/>
      <a:buChar char="►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144000" indent="-144000" algn="l" defTabSz="914400" rtl="0" eaLnBrk="1" latinLnBrk="0" hangingPunct="1">
      <a:spcAft>
        <a:spcPts val="300"/>
      </a:spcAft>
      <a:buClr>
        <a:srgbClr val="FF0000"/>
      </a:buClr>
      <a:buSzPct val="70000"/>
      <a:buFont typeface="Arial" panose="020B0604020202020204" pitchFamily="34" charset="0"/>
      <a:buChar char="►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144000" indent="-144000" algn="l" defTabSz="914400" rtl="0" eaLnBrk="1" latinLnBrk="0" hangingPunct="1">
      <a:spcAft>
        <a:spcPts val="300"/>
      </a:spcAft>
      <a:buClr>
        <a:srgbClr val="FF0000"/>
      </a:buClr>
      <a:buSzPct val="70000"/>
      <a:buFont typeface="Arial" panose="020B0604020202020204" pitchFamily="34" charset="0"/>
      <a:buChar char="►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081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3415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5315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67835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326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3838" y="739775"/>
            <a:ext cx="6451600" cy="3627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6FF10-B940-4D4F-B97B-B9475F2D3A57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7124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555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CC6C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 err="1" smtClean="0">
              <a:solidFill>
                <a:schemeClr val="tx2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096" cy="6858000"/>
          </a:xfrm>
          <a:prstGeom prst="rect">
            <a:avLst/>
          </a:prstGeom>
        </p:spPr>
      </p:pic>
      <p:pic>
        <p:nvPicPr>
          <p:cNvPr id="6" name="Grafik 5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0399" y="334961"/>
            <a:ext cx="8892000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 bwMode="gray">
          <a:xfrm>
            <a:off x="828000" y="558058"/>
            <a:ext cx="7992000" cy="828000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 bwMode="gray">
          <a:xfrm>
            <a:off x="828000" y="1445920"/>
            <a:ext cx="7992000" cy="828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0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567174" y="334961"/>
            <a:ext cx="2628000" cy="2628000"/>
          </a:xfrm>
          <a:prstGeom prst="rect">
            <a:avLst/>
          </a:prstGeom>
        </p:spPr>
      </p:pic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827997" y="2456380"/>
            <a:ext cx="7992000" cy="288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lvl1pPr>
              <a:defRPr lang="de-DE" sz="1800" kern="0">
                <a:cs typeface="Arial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01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Grafiken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8963" y="1625981"/>
            <a:ext cx="5327650" cy="2448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8963" y="2024363"/>
            <a:ext cx="5328000" cy="392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276625" y="1627188"/>
            <a:ext cx="5327650" cy="2448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276625" y="2024363"/>
            <a:ext cx="5328000" cy="392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88963" y="1956635"/>
            <a:ext cx="5328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 userDrawn="1"/>
        </p:nvCxnSpPr>
        <p:spPr bwMode="gray">
          <a:xfrm>
            <a:off x="6276625" y="1956635"/>
            <a:ext cx="5328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5645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, 1/2 Grafik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5328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6276625" y="1627188"/>
            <a:ext cx="5327650" cy="244800"/>
          </a:xfrm>
        </p:spPr>
        <p:txBody>
          <a:bodyPr anchor="b"/>
          <a:lstStyle/>
          <a:p>
            <a:pPr lvl="0"/>
            <a:r>
              <a:rPr lang="de-DE" dirty="0" smtClean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6276625" y="1956635"/>
            <a:ext cx="5328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5"/>
          </p:nvPr>
        </p:nvSpPr>
        <p:spPr bwMode="gray">
          <a:xfrm>
            <a:off x="6276625" y="2024363"/>
            <a:ext cx="5328000" cy="392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46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Grafik mit Überschrift,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588963" y="1625981"/>
            <a:ext cx="5327650" cy="244800"/>
          </a:xfrm>
        </p:spPr>
        <p:txBody>
          <a:bodyPr anchor="b"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88963" y="1956635"/>
            <a:ext cx="5328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588963" y="2024363"/>
            <a:ext cx="5328000" cy="392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5"/>
          </p:nvPr>
        </p:nvSpPr>
        <p:spPr bwMode="gray">
          <a:xfrm>
            <a:off x="6276625" y="1627188"/>
            <a:ext cx="5328000" cy="43211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704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470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5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936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4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26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10008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5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712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486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5736963" y="1627188"/>
            <a:ext cx="486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466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1/2 Text, 1/2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4860000" cy="43211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5736963" y="1627188"/>
            <a:ext cx="4860000" cy="4321175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516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1/2 Bild,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88963" y="1627188"/>
            <a:ext cx="4860000" cy="4321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 bwMode="gray">
          <a:xfrm>
            <a:off x="5736963" y="1627188"/>
            <a:ext cx="4860000" cy="43211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726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306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 bwMode="gray">
          <a:xfrm>
            <a:off x="4062963" y="1627188"/>
            <a:ext cx="3060000" cy="4321175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5"/>
          </p:nvPr>
        </p:nvSpPr>
        <p:spPr bwMode="gray">
          <a:xfrm>
            <a:off x="7536963" y="1627188"/>
            <a:ext cx="306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76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11015662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5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90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1/3 Text, 2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3060000" cy="43211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4062963" y="1627188"/>
            <a:ext cx="6534000" cy="4321175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605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2/3 Text,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6534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7536963" y="1627188"/>
            <a:ext cx="3060000" cy="4321175"/>
          </a:xfr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709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Grafik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588963" y="1625981"/>
            <a:ext cx="10008000" cy="244800"/>
          </a:xfrm>
        </p:spPr>
        <p:txBody>
          <a:bodyPr tIns="0" bIns="0" anchor="b"/>
          <a:lstStyle>
            <a:lvl1pPr>
              <a:spcAft>
                <a:spcPts val="6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588963" y="2024363"/>
            <a:ext cx="10008000" cy="392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88963" y="1956635"/>
            <a:ext cx="10008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079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Zwei Grafiken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8963" y="1625981"/>
            <a:ext cx="4860000" cy="2448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8963" y="2024363"/>
            <a:ext cx="4860000" cy="392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736963" y="1627188"/>
            <a:ext cx="4860000" cy="2448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736963" y="2024363"/>
            <a:ext cx="4860000" cy="392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88963" y="1956635"/>
            <a:ext cx="4860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 userDrawn="1"/>
        </p:nvCxnSpPr>
        <p:spPr bwMode="gray">
          <a:xfrm>
            <a:off x="5736963" y="1956635"/>
            <a:ext cx="4860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5110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1/2 Text, 1/2 Grafik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4860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5736963" y="1627188"/>
            <a:ext cx="4860000" cy="244800"/>
          </a:xfrm>
        </p:spPr>
        <p:txBody>
          <a:bodyPr anchor="b"/>
          <a:lstStyle/>
          <a:p>
            <a:pPr lvl="0"/>
            <a:r>
              <a:rPr lang="de-DE" dirty="0" smtClean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736963" y="1956635"/>
            <a:ext cx="4860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5"/>
          </p:nvPr>
        </p:nvSpPr>
        <p:spPr bwMode="gray">
          <a:xfrm>
            <a:off x="5736963" y="2024363"/>
            <a:ext cx="4860000" cy="392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3175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t Störer- 1/2 Grafik mit Überschrift,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588963" y="1625981"/>
            <a:ext cx="4860000" cy="244800"/>
          </a:xfrm>
        </p:spPr>
        <p:txBody>
          <a:bodyPr anchor="b"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88963" y="1956635"/>
            <a:ext cx="4860000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588963" y="2024363"/>
            <a:ext cx="4860000" cy="392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5"/>
          </p:nvPr>
        </p:nvSpPr>
        <p:spPr bwMode="gray">
          <a:xfrm>
            <a:off x="5736963" y="1627188"/>
            <a:ext cx="4860000" cy="43211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91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5328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6276625" y="1627188"/>
            <a:ext cx="5328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377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Text, 1/2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5328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76625" y="1627188"/>
            <a:ext cx="5328000" cy="4321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478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Bild,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88963" y="1627188"/>
            <a:ext cx="5328000" cy="4321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 bwMode="gray">
          <a:xfrm>
            <a:off x="6276625" y="1627188"/>
            <a:ext cx="5328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04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718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342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/>
          </p:nvPr>
        </p:nvSpPr>
        <p:spPr bwMode="gray">
          <a:xfrm>
            <a:off x="4388400" y="1627188"/>
            <a:ext cx="3420000" cy="4321175"/>
          </a:xfrm>
        </p:spPr>
        <p:txBody>
          <a:bodyPr/>
          <a:lstStyle>
            <a:lvl5pPr>
              <a:defRPr baseline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5"/>
          </p:nvPr>
        </p:nvSpPr>
        <p:spPr bwMode="gray">
          <a:xfrm>
            <a:off x="8184624" y="1627188"/>
            <a:ext cx="3420000" cy="43211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8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, 2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3420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4386625" y="1627188"/>
            <a:ext cx="7218000" cy="4321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39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,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588963" y="1627188"/>
            <a:ext cx="7218000" cy="4321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8184624" y="1627188"/>
            <a:ext cx="3420000" cy="4321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2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588963" y="1625981"/>
            <a:ext cx="11016000" cy="244800"/>
          </a:xfrm>
        </p:spPr>
        <p:txBody>
          <a:bodyPr tIns="0" bIns="0" anchor="b"/>
          <a:lstStyle>
            <a:lvl1pPr>
              <a:spcAft>
                <a:spcPts val="6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588963" y="2024363"/>
            <a:ext cx="11015662" cy="392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88963" y="1956635"/>
            <a:ext cx="11015662" cy="0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88963" y="6364608"/>
            <a:ext cx="11015662" cy="180000"/>
          </a:xfrm>
        </p:spPr>
        <p:txBody>
          <a:bodyPr anchor="b"/>
          <a:lstStyle>
            <a:lvl1pPr>
              <a:spcAft>
                <a:spcPts val="0"/>
              </a:spcAft>
              <a:defRPr sz="900" b="0"/>
            </a:lvl1pPr>
          </a:lstStyle>
          <a:p>
            <a:pPr lvl="0"/>
            <a:r>
              <a:rPr lang="de-DE" dirty="0" smtClean="0"/>
              <a:t>Quellangabe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006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528219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think-cell Folie" r:id="rId30" imgW="344" imgH="344" progId="TCLayout.ActiveDocument.1">
                  <p:embed/>
                </p:oleObj>
              </mc:Choice>
              <mc:Fallback>
                <p:oleObj name="think-cell Folie" r:id="rId3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/>
          <p:cNvGrpSpPr/>
          <p:nvPr>
            <p:custDataLst>
              <p:tags r:id="rId29"/>
            </p:custDataLst>
          </p:nvPr>
        </p:nvGrpSpPr>
        <p:grpSpPr bwMode="gray">
          <a:xfrm>
            <a:off x="-162606" y="-115266"/>
            <a:ext cx="12505987" cy="6063629"/>
            <a:chOff x="-162606" y="-115266"/>
            <a:chExt cx="12505987" cy="6063629"/>
          </a:xfrm>
        </p:grpSpPr>
        <p:grpSp>
          <p:nvGrpSpPr>
            <p:cNvPr id="3" name="Gruppieren 2"/>
            <p:cNvGrpSpPr/>
            <p:nvPr userDrawn="1"/>
          </p:nvGrpSpPr>
          <p:grpSpPr bwMode="gray">
            <a:xfrm>
              <a:off x="-162606" y="1627189"/>
              <a:ext cx="131873" cy="4321174"/>
              <a:chOff x="-162606" y="1627189"/>
              <a:chExt cx="131873" cy="4321174"/>
            </a:xfrm>
          </p:grpSpPr>
          <p:cxnSp>
            <p:nvCxnSpPr>
              <p:cNvPr id="65" name="Gerade Verbindung 68"/>
              <p:cNvCxnSpPr/>
              <p:nvPr userDrawn="1"/>
            </p:nvCxnSpPr>
            <p:spPr bwMode="gray">
              <a:xfrm rot="16200000" flipV="1">
                <a:off x="-96669" y="1561253"/>
                <a:ext cx="0" cy="13187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76"/>
              <p:cNvCxnSpPr/>
              <p:nvPr userDrawn="1"/>
            </p:nvCxnSpPr>
            <p:spPr bwMode="gray">
              <a:xfrm rot="16200000" flipV="1">
                <a:off x="-96670" y="5882427"/>
                <a:ext cx="0" cy="13187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uppieren 3"/>
            <p:cNvGrpSpPr/>
            <p:nvPr userDrawn="1"/>
          </p:nvGrpSpPr>
          <p:grpSpPr bwMode="gray">
            <a:xfrm>
              <a:off x="12211509" y="1627189"/>
              <a:ext cx="131872" cy="4321174"/>
              <a:chOff x="12211509" y="1627189"/>
              <a:chExt cx="131872" cy="4321174"/>
            </a:xfrm>
          </p:grpSpPr>
          <p:cxnSp>
            <p:nvCxnSpPr>
              <p:cNvPr id="61" name="Gerade Verbindung 82"/>
              <p:cNvCxnSpPr/>
              <p:nvPr userDrawn="1"/>
            </p:nvCxnSpPr>
            <p:spPr bwMode="gray">
              <a:xfrm rot="5400000" flipH="1" flipV="1">
                <a:off x="12277446" y="1561253"/>
                <a:ext cx="0" cy="131871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84"/>
              <p:cNvCxnSpPr/>
              <p:nvPr userDrawn="1"/>
            </p:nvCxnSpPr>
            <p:spPr bwMode="gray">
              <a:xfrm rot="5400000" flipH="1" flipV="1">
                <a:off x="12277445" y="5882427"/>
                <a:ext cx="0" cy="131871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Gruppieren 1"/>
            <p:cNvGrpSpPr/>
            <p:nvPr userDrawn="1"/>
          </p:nvGrpSpPr>
          <p:grpSpPr bwMode="gray">
            <a:xfrm>
              <a:off x="588963" y="-115266"/>
              <a:ext cx="11015662" cy="99392"/>
              <a:chOff x="588963" y="-115266"/>
              <a:chExt cx="11015662" cy="99392"/>
            </a:xfrm>
          </p:grpSpPr>
          <p:cxnSp>
            <p:nvCxnSpPr>
              <p:cNvPr id="42" name="Gerade Verbindung 65"/>
              <p:cNvCxnSpPr/>
              <p:nvPr userDrawn="1"/>
            </p:nvCxnSpPr>
            <p:spPr bwMode="gray">
              <a:xfrm flipV="1">
                <a:off x="588963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73"/>
              <p:cNvCxnSpPr/>
              <p:nvPr userDrawn="1"/>
            </p:nvCxnSpPr>
            <p:spPr bwMode="gray">
              <a:xfrm flipV="1">
                <a:off x="11604625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73"/>
              <p:cNvCxnSpPr/>
              <p:nvPr userDrawn="1"/>
            </p:nvCxnSpPr>
            <p:spPr bwMode="gray">
              <a:xfrm flipV="1">
                <a:off x="5916963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73"/>
              <p:cNvCxnSpPr/>
              <p:nvPr userDrawn="1"/>
            </p:nvCxnSpPr>
            <p:spPr bwMode="gray">
              <a:xfrm flipV="1">
                <a:off x="6276625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73"/>
              <p:cNvCxnSpPr/>
              <p:nvPr userDrawn="1"/>
            </p:nvCxnSpPr>
            <p:spPr bwMode="gray">
              <a:xfrm flipV="1">
                <a:off x="10596963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73"/>
              <p:cNvCxnSpPr/>
              <p:nvPr userDrawn="1"/>
            </p:nvCxnSpPr>
            <p:spPr bwMode="gray">
              <a:xfrm flipV="1">
                <a:off x="7808400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73"/>
              <p:cNvCxnSpPr/>
              <p:nvPr userDrawn="1"/>
            </p:nvCxnSpPr>
            <p:spPr bwMode="gray">
              <a:xfrm flipV="1">
                <a:off x="8184624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73"/>
              <p:cNvCxnSpPr/>
              <p:nvPr userDrawn="1"/>
            </p:nvCxnSpPr>
            <p:spPr bwMode="gray">
              <a:xfrm flipV="1">
                <a:off x="4008963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73"/>
              <p:cNvCxnSpPr/>
              <p:nvPr userDrawn="1"/>
            </p:nvCxnSpPr>
            <p:spPr bwMode="gray">
              <a:xfrm flipV="1">
                <a:off x="4388400" y="-115266"/>
                <a:ext cx="0" cy="99392"/>
              </a:xfrm>
              <a:prstGeom prst="line">
                <a:avLst/>
              </a:prstGeom>
              <a:ln w="9525">
                <a:solidFill>
                  <a:srgbClr val="FFFF00"/>
                </a:solidFill>
                <a:headEnd type="none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173" name="Rectangle 101"/>
          <p:cNvSpPr>
            <a:spLocks noGrp="1" noChangeArrowheads="1"/>
          </p:cNvSpPr>
          <p:nvPr>
            <p:ph type="title"/>
          </p:nvPr>
        </p:nvSpPr>
        <p:spPr bwMode="gray">
          <a:xfrm>
            <a:off x="588963" y="270144"/>
            <a:ext cx="10008000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88963" y="1627188"/>
            <a:ext cx="11015662" cy="432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Erste Eben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8" name="Foliennummernplatzhalter 3"/>
          <p:cNvSpPr txBox="1">
            <a:spLocks/>
          </p:cNvSpPr>
          <p:nvPr/>
        </p:nvSpPr>
        <p:spPr bwMode="gray">
          <a:xfrm>
            <a:off x="11065126" y="6575918"/>
            <a:ext cx="5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272836-2535-48A0-AB7E-123EA519F312}" type="slidenum">
              <a:rPr lang="de-DE" smtClean="0">
                <a:solidFill>
                  <a:srgbClr val="003745"/>
                </a:solidFill>
              </a:rPr>
              <a:pPr/>
              <a:t>‹Nr.›</a:t>
            </a:fld>
            <a:endParaRPr lang="de-DE" dirty="0">
              <a:solidFill>
                <a:srgbClr val="003745"/>
              </a:solidFill>
            </a:endParaRPr>
          </a:p>
        </p:txBody>
      </p:sp>
      <p:pic>
        <p:nvPicPr>
          <p:cNvPr id="71" name="Grafik 70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1115175" y="270144"/>
            <a:ext cx="1080000" cy="10800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588963" y="6575918"/>
            <a:ext cx="532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00" dirty="0">
                <a:solidFill>
                  <a:srgbClr val="003745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562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7" r:id="rId10"/>
    <p:sldLayoutId id="2147483743" r:id="rId11"/>
    <p:sldLayoutId id="2147483744" r:id="rId12"/>
    <p:sldLayoutId id="2147483745" r:id="rId13"/>
    <p:sldLayoutId id="2147483746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5000"/>
        </a:lnSpc>
        <a:spcBef>
          <a:spcPts val="0"/>
        </a:spcBef>
        <a:spcAft>
          <a:spcPts val="0"/>
        </a:spcAft>
        <a:defRPr sz="2600" b="1">
          <a:solidFill>
            <a:schemeClr val="tx2"/>
          </a:solidFill>
          <a:latin typeface="Arial" pitchFamily="34" charset="0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pitchFamily="34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rgbClr val="E12A22"/>
        </a:buClr>
        <a:buFont typeface="Arial" pitchFamily="34" charset="0"/>
        <a:defRPr sz="1600" b="1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1588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defRPr sz="1400">
          <a:solidFill>
            <a:schemeClr val="tx2"/>
          </a:solidFill>
          <a:latin typeface="Arial" pitchFamily="34" charset="0"/>
          <a:cs typeface="Arial" pitchFamily="34" charset="0"/>
        </a:defRPr>
      </a:lvl2pPr>
      <a:lvl3pPr marL="179388" indent="-179388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50000"/>
        <a:buFont typeface="Arial" panose="020B0604020202020204" pitchFamily="34" charset="0"/>
        <a:buChar char="▪"/>
        <a:defRPr sz="1400">
          <a:solidFill>
            <a:schemeClr val="tx2"/>
          </a:solidFill>
          <a:latin typeface="Arial" pitchFamily="34" charset="0"/>
          <a:cs typeface="Arial" pitchFamily="34" charset="0"/>
        </a:defRPr>
      </a:lvl3pPr>
      <a:lvl4pPr marL="360000" indent="-18000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rgbClr val="9D958D"/>
        </a:buClr>
        <a:buSzPct val="150000"/>
        <a:buFont typeface="Arial" panose="020B0604020202020204" pitchFamily="34" charset="0"/>
        <a:buChar char="▪"/>
        <a:defRPr sz="1400">
          <a:solidFill>
            <a:schemeClr val="tx2"/>
          </a:solidFill>
          <a:latin typeface="Arial" pitchFamily="34" charset="0"/>
          <a:cs typeface="Arial" pitchFamily="34" charset="0"/>
        </a:defRPr>
      </a:lvl4pPr>
      <a:lvl5pPr marL="540000" indent="-18000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rgbClr val="FF0000"/>
        </a:buClr>
        <a:buSzPct val="70000"/>
        <a:buFont typeface="Arial" panose="020B0604020202020204" pitchFamily="34" charset="0"/>
        <a:buChar char="►"/>
        <a:defRPr sz="1400">
          <a:solidFill>
            <a:schemeClr val="tx2"/>
          </a:solidFill>
          <a:latin typeface="+mn-lt"/>
        </a:defRPr>
      </a:lvl6pPr>
      <a:lvl7pPr marL="180000" indent="-180000" algn="l" rtl="0" eaLnBrk="1" fontAlgn="base" hangingPunct="1">
        <a:spcBef>
          <a:spcPct val="0"/>
        </a:spcBef>
        <a:spcAft>
          <a:spcPts val="600"/>
        </a:spcAft>
        <a:buClr>
          <a:srgbClr val="FF0000"/>
        </a:buClr>
        <a:buSzPct val="70000"/>
        <a:buFont typeface="Arial" panose="020B0604020202020204" pitchFamily="34" charset="0"/>
        <a:buChar char="►"/>
        <a:defRPr sz="1400">
          <a:solidFill>
            <a:schemeClr val="tx2"/>
          </a:solidFill>
          <a:latin typeface="+mn-lt"/>
        </a:defRPr>
      </a:lvl7pPr>
      <a:lvl8pPr marL="180000" indent="-180000" algn="l" rtl="0" eaLnBrk="1" fontAlgn="base" hangingPunct="1">
        <a:spcBef>
          <a:spcPct val="0"/>
        </a:spcBef>
        <a:spcAft>
          <a:spcPts val="600"/>
        </a:spcAft>
        <a:buClr>
          <a:srgbClr val="FF0000"/>
        </a:buClr>
        <a:buSzPct val="70000"/>
        <a:buFont typeface="Arial" panose="020B0604020202020204" pitchFamily="34" charset="0"/>
        <a:buChar char="►"/>
        <a:defRPr sz="1400">
          <a:solidFill>
            <a:schemeClr val="tx2"/>
          </a:solidFill>
          <a:latin typeface="+mn-lt"/>
        </a:defRPr>
      </a:lvl8pPr>
      <a:lvl9pPr marL="180000" indent="-180000" algn="l" rtl="0" eaLnBrk="1" fontAlgn="base" hangingPunct="1">
        <a:spcBef>
          <a:spcPct val="0"/>
        </a:spcBef>
        <a:spcAft>
          <a:spcPts val="600"/>
        </a:spcAft>
        <a:buClr>
          <a:srgbClr val="FF0000"/>
        </a:buClr>
        <a:buSzPct val="70000"/>
        <a:buFont typeface="Arial" panose="020B0604020202020204" pitchFamily="34" charset="0"/>
        <a:buChar char="►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0" Type="http://schemas.openxmlformats.org/officeDocument/2006/relationships/image" Target="../media/image14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3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uchungsübersicht Data Analytics bei der S-Rating</a:t>
            </a:r>
            <a:r>
              <a:rPr lang="de-DE" dirty="0"/>
              <a:t/>
            </a:r>
            <a:br>
              <a:rPr lang="de-DE" dirty="0"/>
            </a:br>
            <a:r>
              <a:rPr lang="de-DE" b="0" dirty="0"/>
              <a:t>DA per </a:t>
            </a:r>
            <a:r>
              <a:rPr lang="de-DE" b="0" dirty="0" smtClean="0"/>
              <a:t>03.01.2019 </a:t>
            </a:r>
            <a:r>
              <a:rPr lang="de-DE" dirty="0"/>
              <a:t>|</a:t>
            </a:r>
            <a:r>
              <a:rPr lang="de-DE" b="0" dirty="0" smtClean="0"/>
              <a:t> 270 </a:t>
            </a:r>
            <a:r>
              <a:rPr lang="de-DE" b="0" dirty="0"/>
              <a:t>von </a:t>
            </a:r>
            <a:r>
              <a:rPr lang="de-DE" b="0" dirty="0" smtClean="0"/>
              <a:t>383 </a:t>
            </a:r>
            <a:r>
              <a:rPr lang="de-DE" b="0" dirty="0" err="1"/>
              <a:t>Spk</a:t>
            </a:r>
            <a:r>
              <a:rPr lang="de-DE" b="0" dirty="0" smtClean="0"/>
              <a:t>.</a:t>
            </a:r>
            <a:endParaRPr lang="de-DE" b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 smtClean="0"/>
              <a:t>Quelle: Sparkassen-</a:t>
            </a:r>
            <a:r>
              <a:rPr lang="de-DE" dirty="0" err="1" smtClean="0"/>
              <a:t>DataAnalytics</a:t>
            </a:r>
            <a:endParaRPr lang="de-DE" dirty="0" smtClean="0"/>
          </a:p>
          <a:p>
            <a:r>
              <a:rPr lang="de-DE" dirty="0"/>
              <a:t>Stand: Februar 2019</a:t>
            </a:r>
          </a:p>
          <a:p>
            <a:r>
              <a:rPr lang="de-DE" dirty="0"/>
              <a:t>OE: </a:t>
            </a:r>
            <a:r>
              <a:rPr lang="de-DE" dirty="0" smtClean="0"/>
              <a:t>51020101-10</a:t>
            </a:r>
            <a:endParaRPr lang="de-DE" dirty="0"/>
          </a:p>
        </p:txBody>
      </p:sp>
      <p:grpSp>
        <p:nvGrpSpPr>
          <p:cNvPr id="30" name="Gruppieren 29"/>
          <p:cNvGrpSpPr/>
          <p:nvPr/>
        </p:nvGrpSpPr>
        <p:grpSpPr bwMode="gray">
          <a:xfrm>
            <a:off x="588963" y="1627188"/>
            <a:ext cx="3215319" cy="4321175"/>
            <a:chOff x="4706757" y="1844675"/>
            <a:chExt cx="2826486" cy="3816350"/>
          </a:xfrm>
          <a:solidFill>
            <a:schemeClr val="accent3"/>
          </a:solidFill>
        </p:grpSpPr>
        <p:sp>
          <p:nvSpPr>
            <p:cNvPr id="31" name="Freeform 4"/>
            <p:cNvSpPr>
              <a:spLocks/>
            </p:cNvSpPr>
            <p:nvPr/>
          </p:nvSpPr>
          <p:spPr bwMode="gray">
            <a:xfrm>
              <a:off x="4967355" y="2383187"/>
              <a:ext cx="1468704" cy="1276125"/>
            </a:xfrm>
            <a:custGeom>
              <a:avLst/>
              <a:gdLst>
                <a:gd name="T0" fmla="*/ 629 w 1099"/>
                <a:gd name="T1" fmla="*/ 771 h 955"/>
                <a:gd name="T2" fmla="*/ 586 w 1099"/>
                <a:gd name="T3" fmla="*/ 710 h 955"/>
                <a:gd name="T4" fmla="*/ 550 w 1099"/>
                <a:gd name="T5" fmla="*/ 639 h 955"/>
                <a:gd name="T6" fmla="*/ 573 w 1099"/>
                <a:gd name="T7" fmla="*/ 607 h 955"/>
                <a:gd name="T8" fmla="*/ 568 w 1099"/>
                <a:gd name="T9" fmla="*/ 559 h 955"/>
                <a:gd name="T10" fmla="*/ 558 w 1099"/>
                <a:gd name="T11" fmla="*/ 485 h 955"/>
                <a:gd name="T12" fmla="*/ 504 w 1099"/>
                <a:gd name="T13" fmla="*/ 530 h 955"/>
                <a:gd name="T14" fmla="*/ 465 w 1099"/>
                <a:gd name="T15" fmla="*/ 481 h 955"/>
                <a:gd name="T16" fmla="*/ 424 w 1099"/>
                <a:gd name="T17" fmla="*/ 492 h 955"/>
                <a:gd name="T18" fmla="*/ 399 w 1099"/>
                <a:gd name="T19" fmla="*/ 553 h 955"/>
                <a:gd name="T20" fmla="*/ 376 w 1099"/>
                <a:gd name="T21" fmla="*/ 638 h 955"/>
                <a:gd name="T22" fmla="*/ 309 w 1099"/>
                <a:gd name="T23" fmla="*/ 672 h 955"/>
                <a:gd name="T24" fmla="*/ 286 w 1099"/>
                <a:gd name="T25" fmla="*/ 604 h 955"/>
                <a:gd name="T26" fmla="*/ 259 w 1099"/>
                <a:gd name="T27" fmla="*/ 539 h 955"/>
                <a:gd name="T28" fmla="*/ 202 w 1099"/>
                <a:gd name="T29" fmla="*/ 502 h 955"/>
                <a:gd name="T30" fmla="*/ 161 w 1099"/>
                <a:gd name="T31" fmla="*/ 574 h 955"/>
                <a:gd name="T32" fmla="*/ 82 w 1099"/>
                <a:gd name="T33" fmla="*/ 593 h 955"/>
                <a:gd name="T34" fmla="*/ 56 w 1099"/>
                <a:gd name="T35" fmla="*/ 510 h 955"/>
                <a:gd name="T36" fmla="*/ 2 w 1099"/>
                <a:gd name="T37" fmla="*/ 466 h 955"/>
                <a:gd name="T38" fmla="*/ 72 w 1099"/>
                <a:gd name="T39" fmla="*/ 448 h 955"/>
                <a:gd name="T40" fmla="*/ 95 w 1099"/>
                <a:gd name="T41" fmla="*/ 362 h 955"/>
                <a:gd name="T42" fmla="*/ 122 w 1099"/>
                <a:gd name="T43" fmla="*/ 255 h 955"/>
                <a:gd name="T44" fmla="*/ 161 w 1099"/>
                <a:gd name="T45" fmla="*/ 212 h 955"/>
                <a:gd name="T46" fmla="*/ 187 w 1099"/>
                <a:gd name="T47" fmla="*/ 210 h 955"/>
                <a:gd name="T48" fmla="*/ 115 w 1099"/>
                <a:gd name="T49" fmla="*/ 187 h 955"/>
                <a:gd name="T50" fmla="*/ 136 w 1099"/>
                <a:gd name="T51" fmla="*/ 115 h 955"/>
                <a:gd name="T52" fmla="*/ 142 w 1099"/>
                <a:gd name="T53" fmla="*/ 84 h 955"/>
                <a:gd name="T54" fmla="*/ 233 w 1099"/>
                <a:gd name="T55" fmla="*/ 64 h 955"/>
                <a:gd name="T56" fmla="*/ 341 w 1099"/>
                <a:gd name="T57" fmla="*/ 50 h 955"/>
                <a:gd name="T58" fmla="*/ 346 w 1099"/>
                <a:gd name="T59" fmla="*/ 121 h 955"/>
                <a:gd name="T60" fmla="*/ 351 w 1099"/>
                <a:gd name="T61" fmla="*/ 158 h 955"/>
                <a:gd name="T62" fmla="*/ 381 w 1099"/>
                <a:gd name="T63" fmla="*/ 126 h 955"/>
                <a:gd name="T64" fmla="*/ 427 w 1099"/>
                <a:gd name="T65" fmla="*/ 118 h 955"/>
                <a:gd name="T66" fmla="*/ 425 w 1099"/>
                <a:gd name="T67" fmla="*/ 189 h 955"/>
                <a:gd name="T68" fmla="*/ 449 w 1099"/>
                <a:gd name="T69" fmla="*/ 117 h 955"/>
                <a:gd name="T70" fmla="*/ 457 w 1099"/>
                <a:gd name="T71" fmla="*/ 9 h 955"/>
                <a:gd name="T72" fmla="*/ 535 w 1099"/>
                <a:gd name="T73" fmla="*/ 21 h 955"/>
                <a:gd name="T74" fmla="*/ 625 w 1099"/>
                <a:gd name="T75" fmla="*/ 42 h 955"/>
                <a:gd name="T76" fmla="*/ 673 w 1099"/>
                <a:gd name="T77" fmla="*/ 95 h 955"/>
                <a:gd name="T78" fmla="*/ 724 w 1099"/>
                <a:gd name="T79" fmla="*/ 146 h 955"/>
                <a:gd name="T80" fmla="*/ 788 w 1099"/>
                <a:gd name="T81" fmla="*/ 165 h 955"/>
                <a:gd name="T82" fmla="*/ 854 w 1099"/>
                <a:gd name="T83" fmla="*/ 174 h 955"/>
                <a:gd name="T84" fmla="*/ 918 w 1099"/>
                <a:gd name="T85" fmla="*/ 196 h 955"/>
                <a:gd name="T86" fmla="*/ 976 w 1099"/>
                <a:gd name="T87" fmla="*/ 247 h 955"/>
                <a:gd name="T88" fmla="*/ 1054 w 1099"/>
                <a:gd name="T89" fmla="*/ 290 h 955"/>
                <a:gd name="T90" fmla="*/ 1098 w 1099"/>
                <a:gd name="T91" fmla="*/ 312 h 955"/>
                <a:gd name="T92" fmla="*/ 1057 w 1099"/>
                <a:gd name="T93" fmla="*/ 356 h 955"/>
                <a:gd name="T94" fmla="*/ 990 w 1099"/>
                <a:gd name="T95" fmla="*/ 372 h 955"/>
                <a:gd name="T96" fmla="*/ 969 w 1099"/>
                <a:gd name="T97" fmla="*/ 433 h 955"/>
                <a:gd name="T98" fmla="*/ 978 w 1099"/>
                <a:gd name="T99" fmla="*/ 530 h 955"/>
                <a:gd name="T100" fmla="*/ 961 w 1099"/>
                <a:gd name="T101" fmla="*/ 634 h 955"/>
                <a:gd name="T102" fmla="*/ 925 w 1099"/>
                <a:gd name="T103" fmla="*/ 690 h 955"/>
                <a:gd name="T104" fmla="*/ 895 w 1099"/>
                <a:gd name="T105" fmla="*/ 737 h 955"/>
                <a:gd name="T106" fmla="*/ 904 w 1099"/>
                <a:gd name="T107" fmla="*/ 827 h 955"/>
                <a:gd name="T108" fmla="*/ 867 w 1099"/>
                <a:gd name="T109" fmla="*/ 848 h 955"/>
                <a:gd name="T110" fmla="*/ 820 w 1099"/>
                <a:gd name="T111" fmla="*/ 895 h 955"/>
                <a:gd name="T112" fmla="*/ 734 w 1099"/>
                <a:gd name="T113" fmla="*/ 915 h 955"/>
                <a:gd name="T114" fmla="*/ 677 w 1099"/>
                <a:gd name="T115" fmla="*/ 954 h 955"/>
                <a:gd name="T116" fmla="*/ 662 w 1099"/>
                <a:gd name="T117" fmla="*/ 902 h 955"/>
                <a:gd name="T118" fmla="*/ 650 w 1099"/>
                <a:gd name="T119" fmla="*/ 829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9" h="955">
                  <a:moveTo>
                    <a:pt x="616" y="830"/>
                  </a:moveTo>
                  <a:lnTo>
                    <a:pt x="614" y="818"/>
                  </a:lnTo>
                  <a:lnTo>
                    <a:pt x="618" y="800"/>
                  </a:lnTo>
                  <a:lnTo>
                    <a:pt x="629" y="786"/>
                  </a:lnTo>
                  <a:lnTo>
                    <a:pt x="629" y="771"/>
                  </a:lnTo>
                  <a:lnTo>
                    <a:pt x="618" y="761"/>
                  </a:lnTo>
                  <a:lnTo>
                    <a:pt x="600" y="751"/>
                  </a:lnTo>
                  <a:lnTo>
                    <a:pt x="603" y="735"/>
                  </a:lnTo>
                  <a:lnTo>
                    <a:pt x="598" y="715"/>
                  </a:lnTo>
                  <a:lnTo>
                    <a:pt x="586" y="710"/>
                  </a:lnTo>
                  <a:lnTo>
                    <a:pt x="576" y="704"/>
                  </a:lnTo>
                  <a:lnTo>
                    <a:pt x="578" y="683"/>
                  </a:lnTo>
                  <a:lnTo>
                    <a:pt x="572" y="661"/>
                  </a:lnTo>
                  <a:lnTo>
                    <a:pt x="562" y="650"/>
                  </a:lnTo>
                  <a:lnTo>
                    <a:pt x="550" y="639"/>
                  </a:lnTo>
                  <a:lnTo>
                    <a:pt x="537" y="636"/>
                  </a:lnTo>
                  <a:lnTo>
                    <a:pt x="540" y="624"/>
                  </a:lnTo>
                  <a:lnTo>
                    <a:pt x="553" y="622"/>
                  </a:lnTo>
                  <a:lnTo>
                    <a:pt x="565" y="621"/>
                  </a:lnTo>
                  <a:lnTo>
                    <a:pt x="573" y="607"/>
                  </a:lnTo>
                  <a:lnTo>
                    <a:pt x="571" y="593"/>
                  </a:lnTo>
                  <a:lnTo>
                    <a:pt x="562" y="588"/>
                  </a:lnTo>
                  <a:lnTo>
                    <a:pt x="554" y="584"/>
                  </a:lnTo>
                  <a:lnTo>
                    <a:pt x="558" y="573"/>
                  </a:lnTo>
                  <a:lnTo>
                    <a:pt x="568" y="559"/>
                  </a:lnTo>
                  <a:lnTo>
                    <a:pt x="572" y="539"/>
                  </a:lnTo>
                  <a:lnTo>
                    <a:pt x="568" y="527"/>
                  </a:lnTo>
                  <a:lnTo>
                    <a:pt x="573" y="512"/>
                  </a:lnTo>
                  <a:lnTo>
                    <a:pt x="578" y="492"/>
                  </a:lnTo>
                  <a:lnTo>
                    <a:pt x="558" y="485"/>
                  </a:lnTo>
                  <a:lnTo>
                    <a:pt x="540" y="492"/>
                  </a:lnTo>
                  <a:lnTo>
                    <a:pt x="533" y="505"/>
                  </a:lnTo>
                  <a:lnTo>
                    <a:pt x="518" y="507"/>
                  </a:lnTo>
                  <a:lnTo>
                    <a:pt x="511" y="517"/>
                  </a:lnTo>
                  <a:lnTo>
                    <a:pt x="504" y="530"/>
                  </a:lnTo>
                  <a:lnTo>
                    <a:pt x="495" y="535"/>
                  </a:lnTo>
                  <a:lnTo>
                    <a:pt x="486" y="521"/>
                  </a:lnTo>
                  <a:lnTo>
                    <a:pt x="479" y="505"/>
                  </a:lnTo>
                  <a:lnTo>
                    <a:pt x="471" y="489"/>
                  </a:lnTo>
                  <a:lnTo>
                    <a:pt x="465" y="481"/>
                  </a:lnTo>
                  <a:lnTo>
                    <a:pt x="454" y="484"/>
                  </a:lnTo>
                  <a:lnTo>
                    <a:pt x="446" y="494"/>
                  </a:lnTo>
                  <a:lnTo>
                    <a:pt x="441" y="509"/>
                  </a:lnTo>
                  <a:lnTo>
                    <a:pt x="432" y="501"/>
                  </a:lnTo>
                  <a:lnTo>
                    <a:pt x="424" y="492"/>
                  </a:lnTo>
                  <a:lnTo>
                    <a:pt x="412" y="498"/>
                  </a:lnTo>
                  <a:lnTo>
                    <a:pt x="403" y="512"/>
                  </a:lnTo>
                  <a:lnTo>
                    <a:pt x="391" y="523"/>
                  </a:lnTo>
                  <a:lnTo>
                    <a:pt x="388" y="535"/>
                  </a:lnTo>
                  <a:lnTo>
                    <a:pt x="399" y="553"/>
                  </a:lnTo>
                  <a:lnTo>
                    <a:pt x="403" y="574"/>
                  </a:lnTo>
                  <a:lnTo>
                    <a:pt x="407" y="603"/>
                  </a:lnTo>
                  <a:lnTo>
                    <a:pt x="400" y="622"/>
                  </a:lnTo>
                  <a:lnTo>
                    <a:pt x="391" y="636"/>
                  </a:lnTo>
                  <a:lnTo>
                    <a:pt x="376" y="638"/>
                  </a:lnTo>
                  <a:lnTo>
                    <a:pt x="360" y="642"/>
                  </a:lnTo>
                  <a:lnTo>
                    <a:pt x="349" y="653"/>
                  </a:lnTo>
                  <a:lnTo>
                    <a:pt x="335" y="667"/>
                  </a:lnTo>
                  <a:lnTo>
                    <a:pt x="322" y="674"/>
                  </a:lnTo>
                  <a:lnTo>
                    <a:pt x="309" y="672"/>
                  </a:lnTo>
                  <a:lnTo>
                    <a:pt x="301" y="664"/>
                  </a:lnTo>
                  <a:lnTo>
                    <a:pt x="295" y="649"/>
                  </a:lnTo>
                  <a:lnTo>
                    <a:pt x="301" y="635"/>
                  </a:lnTo>
                  <a:lnTo>
                    <a:pt x="292" y="621"/>
                  </a:lnTo>
                  <a:lnTo>
                    <a:pt x="286" y="604"/>
                  </a:lnTo>
                  <a:lnTo>
                    <a:pt x="287" y="588"/>
                  </a:lnTo>
                  <a:lnTo>
                    <a:pt x="294" y="570"/>
                  </a:lnTo>
                  <a:lnTo>
                    <a:pt x="291" y="555"/>
                  </a:lnTo>
                  <a:lnTo>
                    <a:pt x="277" y="545"/>
                  </a:lnTo>
                  <a:lnTo>
                    <a:pt x="259" y="539"/>
                  </a:lnTo>
                  <a:lnTo>
                    <a:pt x="248" y="528"/>
                  </a:lnTo>
                  <a:lnTo>
                    <a:pt x="241" y="509"/>
                  </a:lnTo>
                  <a:lnTo>
                    <a:pt x="232" y="496"/>
                  </a:lnTo>
                  <a:lnTo>
                    <a:pt x="215" y="494"/>
                  </a:lnTo>
                  <a:lnTo>
                    <a:pt x="202" y="502"/>
                  </a:lnTo>
                  <a:lnTo>
                    <a:pt x="205" y="524"/>
                  </a:lnTo>
                  <a:lnTo>
                    <a:pt x="196" y="542"/>
                  </a:lnTo>
                  <a:lnTo>
                    <a:pt x="185" y="550"/>
                  </a:lnTo>
                  <a:lnTo>
                    <a:pt x="176" y="566"/>
                  </a:lnTo>
                  <a:lnTo>
                    <a:pt x="161" y="574"/>
                  </a:lnTo>
                  <a:lnTo>
                    <a:pt x="146" y="582"/>
                  </a:lnTo>
                  <a:lnTo>
                    <a:pt x="136" y="593"/>
                  </a:lnTo>
                  <a:lnTo>
                    <a:pt x="117" y="596"/>
                  </a:lnTo>
                  <a:lnTo>
                    <a:pt x="99" y="591"/>
                  </a:lnTo>
                  <a:lnTo>
                    <a:pt x="82" y="593"/>
                  </a:lnTo>
                  <a:lnTo>
                    <a:pt x="63" y="599"/>
                  </a:lnTo>
                  <a:lnTo>
                    <a:pt x="67" y="570"/>
                  </a:lnTo>
                  <a:lnTo>
                    <a:pt x="68" y="545"/>
                  </a:lnTo>
                  <a:lnTo>
                    <a:pt x="64" y="520"/>
                  </a:lnTo>
                  <a:lnTo>
                    <a:pt x="56" y="510"/>
                  </a:lnTo>
                  <a:lnTo>
                    <a:pt x="39" y="509"/>
                  </a:lnTo>
                  <a:lnTo>
                    <a:pt x="24" y="503"/>
                  </a:lnTo>
                  <a:lnTo>
                    <a:pt x="7" y="496"/>
                  </a:lnTo>
                  <a:lnTo>
                    <a:pt x="0" y="485"/>
                  </a:lnTo>
                  <a:lnTo>
                    <a:pt x="2" y="466"/>
                  </a:lnTo>
                  <a:lnTo>
                    <a:pt x="10" y="449"/>
                  </a:lnTo>
                  <a:lnTo>
                    <a:pt x="18" y="440"/>
                  </a:lnTo>
                  <a:lnTo>
                    <a:pt x="36" y="435"/>
                  </a:lnTo>
                  <a:lnTo>
                    <a:pt x="56" y="442"/>
                  </a:lnTo>
                  <a:lnTo>
                    <a:pt x="72" y="448"/>
                  </a:lnTo>
                  <a:lnTo>
                    <a:pt x="92" y="440"/>
                  </a:lnTo>
                  <a:lnTo>
                    <a:pt x="100" y="426"/>
                  </a:lnTo>
                  <a:lnTo>
                    <a:pt x="101" y="404"/>
                  </a:lnTo>
                  <a:lnTo>
                    <a:pt x="97" y="380"/>
                  </a:lnTo>
                  <a:lnTo>
                    <a:pt x="95" y="362"/>
                  </a:lnTo>
                  <a:lnTo>
                    <a:pt x="101" y="344"/>
                  </a:lnTo>
                  <a:lnTo>
                    <a:pt x="110" y="325"/>
                  </a:lnTo>
                  <a:lnTo>
                    <a:pt x="115" y="301"/>
                  </a:lnTo>
                  <a:lnTo>
                    <a:pt x="121" y="277"/>
                  </a:lnTo>
                  <a:lnTo>
                    <a:pt x="122" y="255"/>
                  </a:lnTo>
                  <a:lnTo>
                    <a:pt x="118" y="233"/>
                  </a:lnTo>
                  <a:lnTo>
                    <a:pt x="133" y="240"/>
                  </a:lnTo>
                  <a:lnTo>
                    <a:pt x="139" y="226"/>
                  </a:lnTo>
                  <a:lnTo>
                    <a:pt x="149" y="217"/>
                  </a:lnTo>
                  <a:lnTo>
                    <a:pt x="161" y="212"/>
                  </a:lnTo>
                  <a:lnTo>
                    <a:pt x="169" y="221"/>
                  </a:lnTo>
                  <a:lnTo>
                    <a:pt x="178" y="235"/>
                  </a:lnTo>
                  <a:lnTo>
                    <a:pt x="187" y="243"/>
                  </a:lnTo>
                  <a:lnTo>
                    <a:pt x="190" y="228"/>
                  </a:lnTo>
                  <a:lnTo>
                    <a:pt x="187" y="210"/>
                  </a:lnTo>
                  <a:lnTo>
                    <a:pt x="179" y="197"/>
                  </a:lnTo>
                  <a:lnTo>
                    <a:pt x="162" y="190"/>
                  </a:lnTo>
                  <a:lnTo>
                    <a:pt x="146" y="192"/>
                  </a:lnTo>
                  <a:lnTo>
                    <a:pt x="129" y="194"/>
                  </a:lnTo>
                  <a:lnTo>
                    <a:pt x="115" y="187"/>
                  </a:lnTo>
                  <a:lnTo>
                    <a:pt x="110" y="172"/>
                  </a:lnTo>
                  <a:lnTo>
                    <a:pt x="108" y="156"/>
                  </a:lnTo>
                  <a:lnTo>
                    <a:pt x="117" y="136"/>
                  </a:lnTo>
                  <a:lnTo>
                    <a:pt x="131" y="129"/>
                  </a:lnTo>
                  <a:lnTo>
                    <a:pt x="136" y="115"/>
                  </a:lnTo>
                  <a:lnTo>
                    <a:pt x="125" y="107"/>
                  </a:lnTo>
                  <a:lnTo>
                    <a:pt x="115" y="97"/>
                  </a:lnTo>
                  <a:lnTo>
                    <a:pt x="118" y="85"/>
                  </a:lnTo>
                  <a:lnTo>
                    <a:pt x="131" y="82"/>
                  </a:lnTo>
                  <a:lnTo>
                    <a:pt x="142" y="84"/>
                  </a:lnTo>
                  <a:lnTo>
                    <a:pt x="149" y="74"/>
                  </a:lnTo>
                  <a:lnTo>
                    <a:pt x="161" y="66"/>
                  </a:lnTo>
                  <a:lnTo>
                    <a:pt x="180" y="61"/>
                  </a:lnTo>
                  <a:lnTo>
                    <a:pt x="207" y="67"/>
                  </a:lnTo>
                  <a:lnTo>
                    <a:pt x="233" y="64"/>
                  </a:lnTo>
                  <a:lnTo>
                    <a:pt x="254" y="59"/>
                  </a:lnTo>
                  <a:lnTo>
                    <a:pt x="279" y="52"/>
                  </a:lnTo>
                  <a:lnTo>
                    <a:pt x="302" y="45"/>
                  </a:lnTo>
                  <a:lnTo>
                    <a:pt x="324" y="43"/>
                  </a:lnTo>
                  <a:lnTo>
                    <a:pt x="341" y="50"/>
                  </a:lnTo>
                  <a:lnTo>
                    <a:pt x="348" y="60"/>
                  </a:lnTo>
                  <a:lnTo>
                    <a:pt x="345" y="75"/>
                  </a:lnTo>
                  <a:lnTo>
                    <a:pt x="340" y="92"/>
                  </a:lnTo>
                  <a:lnTo>
                    <a:pt x="341" y="107"/>
                  </a:lnTo>
                  <a:lnTo>
                    <a:pt x="346" y="121"/>
                  </a:lnTo>
                  <a:lnTo>
                    <a:pt x="348" y="136"/>
                  </a:lnTo>
                  <a:lnTo>
                    <a:pt x="341" y="146"/>
                  </a:lnTo>
                  <a:lnTo>
                    <a:pt x="334" y="156"/>
                  </a:lnTo>
                  <a:lnTo>
                    <a:pt x="341" y="165"/>
                  </a:lnTo>
                  <a:lnTo>
                    <a:pt x="351" y="158"/>
                  </a:lnTo>
                  <a:lnTo>
                    <a:pt x="362" y="164"/>
                  </a:lnTo>
                  <a:lnTo>
                    <a:pt x="373" y="156"/>
                  </a:lnTo>
                  <a:lnTo>
                    <a:pt x="387" y="150"/>
                  </a:lnTo>
                  <a:lnTo>
                    <a:pt x="392" y="140"/>
                  </a:lnTo>
                  <a:lnTo>
                    <a:pt x="381" y="126"/>
                  </a:lnTo>
                  <a:lnTo>
                    <a:pt x="385" y="110"/>
                  </a:lnTo>
                  <a:lnTo>
                    <a:pt x="395" y="99"/>
                  </a:lnTo>
                  <a:lnTo>
                    <a:pt x="409" y="100"/>
                  </a:lnTo>
                  <a:lnTo>
                    <a:pt x="416" y="111"/>
                  </a:lnTo>
                  <a:lnTo>
                    <a:pt x="427" y="118"/>
                  </a:lnTo>
                  <a:lnTo>
                    <a:pt x="438" y="126"/>
                  </a:lnTo>
                  <a:lnTo>
                    <a:pt x="430" y="143"/>
                  </a:lnTo>
                  <a:lnTo>
                    <a:pt x="420" y="157"/>
                  </a:lnTo>
                  <a:lnTo>
                    <a:pt x="423" y="172"/>
                  </a:lnTo>
                  <a:lnTo>
                    <a:pt x="425" y="189"/>
                  </a:lnTo>
                  <a:lnTo>
                    <a:pt x="435" y="176"/>
                  </a:lnTo>
                  <a:lnTo>
                    <a:pt x="445" y="157"/>
                  </a:lnTo>
                  <a:lnTo>
                    <a:pt x="452" y="138"/>
                  </a:lnTo>
                  <a:lnTo>
                    <a:pt x="450" y="129"/>
                  </a:lnTo>
                  <a:lnTo>
                    <a:pt x="449" y="117"/>
                  </a:lnTo>
                  <a:lnTo>
                    <a:pt x="438" y="97"/>
                  </a:lnTo>
                  <a:lnTo>
                    <a:pt x="435" y="75"/>
                  </a:lnTo>
                  <a:lnTo>
                    <a:pt x="441" y="53"/>
                  </a:lnTo>
                  <a:lnTo>
                    <a:pt x="449" y="28"/>
                  </a:lnTo>
                  <a:lnTo>
                    <a:pt x="457" y="9"/>
                  </a:lnTo>
                  <a:lnTo>
                    <a:pt x="470" y="0"/>
                  </a:lnTo>
                  <a:lnTo>
                    <a:pt x="481" y="3"/>
                  </a:lnTo>
                  <a:lnTo>
                    <a:pt x="499" y="14"/>
                  </a:lnTo>
                  <a:lnTo>
                    <a:pt x="518" y="20"/>
                  </a:lnTo>
                  <a:lnTo>
                    <a:pt x="535" y="21"/>
                  </a:lnTo>
                  <a:lnTo>
                    <a:pt x="554" y="16"/>
                  </a:lnTo>
                  <a:lnTo>
                    <a:pt x="573" y="18"/>
                  </a:lnTo>
                  <a:lnTo>
                    <a:pt x="587" y="27"/>
                  </a:lnTo>
                  <a:lnTo>
                    <a:pt x="608" y="28"/>
                  </a:lnTo>
                  <a:lnTo>
                    <a:pt x="625" y="42"/>
                  </a:lnTo>
                  <a:lnTo>
                    <a:pt x="633" y="54"/>
                  </a:lnTo>
                  <a:lnTo>
                    <a:pt x="639" y="66"/>
                  </a:lnTo>
                  <a:lnTo>
                    <a:pt x="655" y="68"/>
                  </a:lnTo>
                  <a:lnTo>
                    <a:pt x="668" y="79"/>
                  </a:lnTo>
                  <a:lnTo>
                    <a:pt x="673" y="95"/>
                  </a:lnTo>
                  <a:lnTo>
                    <a:pt x="683" y="107"/>
                  </a:lnTo>
                  <a:lnTo>
                    <a:pt x="698" y="115"/>
                  </a:lnTo>
                  <a:lnTo>
                    <a:pt x="711" y="121"/>
                  </a:lnTo>
                  <a:lnTo>
                    <a:pt x="719" y="128"/>
                  </a:lnTo>
                  <a:lnTo>
                    <a:pt x="724" y="146"/>
                  </a:lnTo>
                  <a:lnTo>
                    <a:pt x="731" y="164"/>
                  </a:lnTo>
                  <a:lnTo>
                    <a:pt x="742" y="174"/>
                  </a:lnTo>
                  <a:lnTo>
                    <a:pt x="758" y="179"/>
                  </a:lnTo>
                  <a:lnTo>
                    <a:pt x="773" y="174"/>
                  </a:lnTo>
                  <a:lnTo>
                    <a:pt x="788" y="165"/>
                  </a:lnTo>
                  <a:lnTo>
                    <a:pt x="800" y="164"/>
                  </a:lnTo>
                  <a:lnTo>
                    <a:pt x="810" y="172"/>
                  </a:lnTo>
                  <a:lnTo>
                    <a:pt x="821" y="181"/>
                  </a:lnTo>
                  <a:lnTo>
                    <a:pt x="838" y="181"/>
                  </a:lnTo>
                  <a:lnTo>
                    <a:pt x="854" y="174"/>
                  </a:lnTo>
                  <a:lnTo>
                    <a:pt x="864" y="186"/>
                  </a:lnTo>
                  <a:lnTo>
                    <a:pt x="877" y="192"/>
                  </a:lnTo>
                  <a:lnTo>
                    <a:pt x="892" y="192"/>
                  </a:lnTo>
                  <a:lnTo>
                    <a:pt x="906" y="192"/>
                  </a:lnTo>
                  <a:lnTo>
                    <a:pt x="918" y="196"/>
                  </a:lnTo>
                  <a:lnTo>
                    <a:pt x="931" y="210"/>
                  </a:lnTo>
                  <a:lnTo>
                    <a:pt x="939" y="222"/>
                  </a:lnTo>
                  <a:lnTo>
                    <a:pt x="946" y="233"/>
                  </a:lnTo>
                  <a:lnTo>
                    <a:pt x="962" y="239"/>
                  </a:lnTo>
                  <a:lnTo>
                    <a:pt x="976" y="247"/>
                  </a:lnTo>
                  <a:lnTo>
                    <a:pt x="993" y="257"/>
                  </a:lnTo>
                  <a:lnTo>
                    <a:pt x="1011" y="265"/>
                  </a:lnTo>
                  <a:lnTo>
                    <a:pt x="1027" y="268"/>
                  </a:lnTo>
                  <a:lnTo>
                    <a:pt x="1041" y="276"/>
                  </a:lnTo>
                  <a:lnTo>
                    <a:pt x="1054" y="290"/>
                  </a:lnTo>
                  <a:lnTo>
                    <a:pt x="1057" y="290"/>
                  </a:lnTo>
                  <a:lnTo>
                    <a:pt x="1072" y="293"/>
                  </a:lnTo>
                  <a:lnTo>
                    <a:pt x="1088" y="286"/>
                  </a:lnTo>
                  <a:lnTo>
                    <a:pt x="1098" y="291"/>
                  </a:lnTo>
                  <a:lnTo>
                    <a:pt x="1098" y="312"/>
                  </a:lnTo>
                  <a:lnTo>
                    <a:pt x="1094" y="330"/>
                  </a:lnTo>
                  <a:lnTo>
                    <a:pt x="1087" y="341"/>
                  </a:lnTo>
                  <a:lnTo>
                    <a:pt x="1080" y="352"/>
                  </a:lnTo>
                  <a:lnTo>
                    <a:pt x="1069" y="356"/>
                  </a:lnTo>
                  <a:lnTo>
                    <a:pt x="1057" y="356"/>
                  </a:lnTo>
                  <a:lnTo>
                    <a:pt x="1044" y="348"/>
                  </a:lnTo>
                  <a:lnTo>
                    <a:pt x="1026" y="352"/>
                  </a:lnTo>
                  <a:lnTo>
                    <a:pt x="1015" y="358"/>
                  </a:lnTo>
                  <a:lnTo>
                    <a:pt x="1001" y="365"/>
                  </a:lnTo>
                  <a:lnTo>
                    <a:pt x="990" y="372"/>
                  </a:lnTo>
                  <a:lnTo>
                    <a:pt x="976" y="369"/>
                  </a:lnTo>
                  <a:lnTo>
                    <a:pt x="961" y="376"/>
                  </a:lnTo>
                  <a:lnTo>
                    <a:pt x="950" y="391"/>
                  </a:lnTo>
                  <a:lnTo>
                    <a:pt x="962" y="408"/>
                  </a:lnTo>
                  <a:lnTo>
                    <a:pt x="969" y="433"/>
                  </a:lnTo>
                  <a:lnTo>
                    <a:pt x="979" y="459"/>
                  </a:lnTo>
                  <a:lnTo>
                    <a:pt x="986" y="478"/>
                  </a:lnTo>
                  <a:lnTo>
                    <a:pt x="987" y="499"/>
                  </a:lnTo>
                  <a:lnTo>
                    <a:pt x="980" y="513"/>
                  </a:lnTo>
                  <a:lnTo>
                    <a:pt x="978" y="530"/>
                  </a:lnTo>
                  <a:lnTo>
                    <a:pt x="980" y="555"/>
                  </a:lnTo>
                  <a:lnTo>
                    <a:pt x="979" y="577"/>
                  </a:lnTo>
                  <a:lnTo>
                    <a:pt x="975" y="597"/>
                  </a:lnTo>
                  <a:lnTo>
                    <a:pt x="968" y="614"/>
                  </a:lnTo>
                  <a:lnTo>
                    <a:pt x="961" y="634"/>
                  </a:lnTo>
                  <a:lnTo>
                    <a:pt x="960" y="650"/>
                  </a:lnTo>
                  <a:lnTo>
                    <a:pt x="964" y="668"/>
                  </a:lnTo>
                  <a:lnTo>
                    <a:pt x="953" y="681"/>
                  </a:lnTo>
                  <a:lnTo>
                    <a:pt x="939" y="688"/>
                  </a:lnTo>
                  <a:lnTo>
                    <a:pt x="925" y="690"/>
                  </a:lnTo>
                  <a:lnTo>
                    <a:pt x="910" y="688"/>
                  </a:lnTo>
                  <a:lnTo>
                    <a:pt x="899" y="690"/>
                  </a:lnTo>
                  <a:lnTo>
                    <a:pt x="895" y="700"/>
                  </a:lnTo>
                  <a:lnTo>
                    <a:pt x="896" y="718"/>
                  </a:lnTo>
                  <a:lnTo>
                    <a:pt x="895" y="737"/>
                  </a:lnTo>
                  <a:lnTo>
                    <a:pt x="890" y="750"/>
                  </a:lnTo>
                  <a:lnTo>
                    <a:pt x="886" y="764"/>
                  </a:lnTo>
                  <a:lnTo>
                    <a:pt x="893" y="787"/>
                  </a:lnTo>
                  <a:lnTo>
                    <a:pt x="897" y="804"/>
                  </a:lnTo>
                  <a:lnTo>
                    <a:pt x="904" y="827"/>
                  </a:lnTo>
                  <a:lnTo>
                    <a:pt x="908" y="845"/>
                  </a:lnTo>
                  <a:lnTo>
                    <a:pt x="904" y="857"/>
                  </a:lnTo>
                  <a:lnTo>
                    <a:pt x="890" y="865"/>
                  </a:lnTo>
                  <a:lnTo>
                    <a:pt x="878" y="862"/>
                  </a:lnTo>
                  <a:lnTo>
                    <a:pt x="867" y="848"/>
                  </a:lnTo>
                  <a:lnTo>
                    <a:pt x="850" y="858"/>
                  </a:lnTo>
                  <a:lnTo>
                    <a:pt x="845" y="872"/>
                  </a:lnTo>
                  <a:lnTo>
                    <a:pt x="830" y="883"/>
                  </a:lnTo>
                  <a:lnTo>
                    <a:pt x="824" y="890"/>
                  </a:lnTo>
                  <a:lnTo>
                    <a:pt x="820" y="895"/>
                  </a:lnTo>
                  <a:lnTo>
                    <a:pt x="803" y="906"/>
                  </a:lnTo>
                  <a:lnTo>
                    <a:pt x="784" y="915"/>
                  </a:lnTo>
                  <a:lnTo>
                    <a:pt x="763" y="913"/>
                  </a:lnTo>
                  <a:lnTo>
                    <a:pt x="742" y="917"/>
                  </a:lnTo>
                  <a:lnTo>
                    <a:pt x="734" y="915"/>
                  </a:lnTo>
                  <a:lnTo>
                    <a:pt x="722" y="915"/>
                  </a:lnTo>
                  <a:lnTo>
                    <a:pt x="708" y="924"/>
                  </a:lnTo>
                  <a:lnTo>
                    <a:pt x="697" y="940"/>
                  </a:lnTo>
                  <a:lnTo>
                    <a:pt x="693" y="948"/>
                  </a:lnTo>
                  <a:lnTo>
                    <a:pt x="677" y="954"/>
                  </a:lnTo>
                  <a:lnTo>
                    <a:pt x="661" y="948"/>
                  </a:lnTo>
                  <a:lnTo>
                    <a:pt x="648" y="945"/>
                  </a:lnTo>
                  <a:lnTo>
                    <a:pt x="644" y="933"/>
                  </a:lnTo>
                  <a:lnTo>
                    <a:pt x="655" y="922"/>
                  </a:lnTo>
                  <a:lnTo>
                    <a:pt x="662" y="902"/>
                  </a:lnTo>
                  <a:lnTo>
                    <a:pt x="665" y="881"/>
                  </a:lnTo>
                  <a:lnTo>
                    <a:pt x="662" y="863"/>
                  </a:lnTo>
                  <a:lnTo>
                    <a:pt x="669" y="848"/>
                  </a:lnTo>
                  <a:lnTo>
                    <a:pt x="662" y="839"/>
                  </a:lnTo>
                  <a:lnTo>
                    <a:pt x="650" y="829"/>
                  </a:lnTo>
                  <a:lnTo>
                    <a:pt x="633" y="829"/>
                  </a:lnTo>
                  <a:lnTo>
                    <a:pt x="616" y="8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gray">
            <a:xfrm>
              <a:off x="6472141" y="2583625"/>
              <a:ext cx="990272" cy="1073014"/>
            </a:xfrm>
            <a:custGeom>
              <a:avLst/>
              <a:gdLst>
                <a:gd name="T0" fmla="*/ 52 w 741"/>
                <a:gd name="T1" fmla="*/ 72 h 803"/>
                <a:gd name="T2" fmla="*/ 7 w 741"/>
                <a:gd name="T3" fmla="*/ 98 h 803"/>
                <a:gd name="T4" fmla="*/ 14 w 741"/>
                <a:gd name="T5" fmla="*/ 141 h 803"/>
                <a:gd name="T6" fmla="*/ 0 w 741"/>
                <a:gd name="T7" fmla="*/ 170 h 803"/>
                <a:gd name="T8" fmla="*/ 41 w 741"/>
                <a:gd name="T9" fmla="*/ 191 h 803"/>
                <a:gd name="T10" fmla="*/ 75 w 741"/>
                <a:gd name="T11" fmla="*/ 224 h 803"/>
                <a:gd name="T12" fmla="*/ 123 w 741"/>
                <a:gd name="T13" fmla="*/ 247 h 803"/>
                <a:gd name="T14" fmla="*/ 124 w 741"/>
                <a:gd name="T15" fmla="*/ 301 h 803"/>
                <a:gd name="T16" fmla="*/ 127 w 741"/>
                <a:gd name="T17" fmla="*/ 355 h 803"/>
                <a:gd name="T18" fmla="*/ 166 w 741"/>
                <a:gd name="T19" fmla="*/ 362 h 803"/>
                <a:gd name="T20" fmla="*/ 170 w 741"/>
                <a:gd name="T21" fmla="*/ 403 h 803"/>
                <a:gd name="T22" fmla="*/ 194 w 741"/>
                <a:gd name="T23" fmla="*/ 442 h 803"/>
                <a:gd name="T24" fmla="*/ 189 w 741"/>
                <a:gd name="T25" fmla="*/ 496 h 803"/>
                <a:gd name="T26" fmla="*/ 228 w 741"/>
                <a:gd name="T27" fmla="*/ 533 h 803"/>
                <a:gd name="T28" fmla="*/ 279 w 741"/>
                <a:gd name="T29" fmla="*/ 526 h 803"/>
                <a:gd name="T30" fmla="*/ 318 w 741"/>
                <a:gd name="T31" fmla="*/ 554 h 803"/>
                <a:gd name="T32" fmla="*/ 364 w 741"/>
                <a:gd name="T33" fmla="*/ 575 h 803"/>
                <a:gd name="T34" fmla="*/ 394 w 741"/>
                <a:gd name="T35" fmla="*/ 616 h 803"/>
                <a:gd name="T36" fmla="*/ 407 w 741"/>
                <a:gd name="T37" fmla="*/ 657 h 803"/>
                <a:gd name="T38" fmla="*/ 386 w 741"/>
                <a:gd name="T39" fmla="*/ 700 h 803"/>
                <a:gd name="T40" fmla="*/ 411 w 741"/>
                <a:gd name="T41" fmla="*/ 749 h 803"/>
                <a:gd name="T42" fmla="*/ 403 w 741"/>
                <a:gd name="T43" fmla="*/ 798 h 803"/>
                <a:gd name="T44" fmla="*/ 434 w 741"/>
                <a:gd name="T45" fmla="*/ 779 h 803"/>
                <a:gd name="T46" fmla="*/ 486 w 741"/>
                <a:gd name="T47" fmla="*/ 787 h 803"/>
                <a:gd name="T48" fmla="*/ 552 w 741"/>
                <a:gd name="T49" fmla="*/ 773 h 803"/>
                <a:gd name="T50" fmla="*/ 580 w 741"/>
                <a:gd name="T51" fmla="*/ 722 h 803"/>
                <a:gd name="T52" fmla="*/ 617 w 741"/>
                <a:gd name="T53" fmla="*/ 704 h 803"/>
                <a:gd name="T54" fmla="*/ 649 w 741"/>
                <a:gd name="T55" fmla="*/ 682 h 803"/>
                <a:gd name="T56" fmla="*/ 690 w 741"/>
                <a:gd name="T57" fmla="*/ 683 h 803"/>
                <a:gd name="T58" fmla="*/ 736 w 741"/>
                <a:gd name="T59" fmla="*/ 666 h 803"/>
                <a:gd name="T60" fmla="*/ 718 w 741"/>
                <a:gd name="T61" fmla="*/ 625 h 803"/>
                <a:gd name="T62" fmla="*/ 703 w 741"/>
                <a:gd name="T63" fmla="*/ 575 h 803"/>
                <a:gd name="T64" fmla="*/ 726 w 741"/>
                <a:gd name="T65" fmla="*/ 526 h 803"/>
                <a:gd name="T66" fmla="*/ 710 w 741"/>
                <a:gd name="T67" fmla="*/ 475 h 803"/>
                <a:gd name="T68" fmla="*/ 702 w 741"/>
                <a:gd name="T69" fmla="*/ 429 h 803"/>
                <a:gd name="T70" fmla="*/ 663 w 741"/>
                <a:gd name="T71" fmla="*/ 399 h 803"/>
                <a:gd name="T72" fmla="*/ 682 w 741"/>
                <a:gd name="T73" fmla="*/ 342 h 803"/>
                <a:gd name="T74" fmla="*/ 643 w 741"/>
                <a:gd name="T75" fmla="*/ 288 h 803"/>
                <a:gd name="T76" fmla="*/ 596 w 741"/>
                <a:gd name="T77" fmla="*/ 229 h 803"/>
                <a:gd name="T78" fmla="*/ 558 w 741"/>
                <a:gd name="T79" fmla="*/ 194 h 803"/>
                <a:gd name="T80" fmla="*/ 583 w 741"/>
                <a:gd name="T81" fmla="*/ 137 h 803"/>
                <a:gd name="T82" fmla="*/ 613 w 741"/>
                <a:gd name="T83" fmla="*/ 85 h 803"/>
                <a:gd name="T84" fmla="*/ 603 w 741"/>
                <a:gd name="T85" fmla="*/ 37 h 803"/>
                <a:gd name="T86" fmla="*/ 562 w 741"/>
                <a:gd name="T87" fmla="*/ 75 h 803"/>
                <a:gd name="T88" fmla="*/ 527 w 741"/>
                <a:gd name="T89" fmla="*/ 54 h 803"/>
                <a:gd name="T90" fmla="*/ 491 w 741"/>
                <a:gd name="T91" fmla="*/ 24 h 803"/>
                <a:gd name="T92" fmla="*/ 443 w 741"/>
                <a:gd name="T93" fmla="*/ 8 h 803"/>
                <a:gd name="T94" fmla="*/ 405 w 741"/>
                <a:gd name="T95" fmla="*/ 53 h 803"/>
                <a:gd name="T96" fmla="*/ 369 w 741"/>
                <a:gd name="T97" fmla="*/ 69 h 803"/>
                <a:gd name="T98" fmla="*/ 338 w 741"/>
                <a:gd name="T99" fmla="*/ 98 h 803"/>
                <a:gd name="T100" fmla="*/ 286 w 741"/>
                <a:gd name="T101" fmla="*/ 112 h 803"/>
                <a:gd name="T102" fmla="*/ 243 w 741"/>
                <a:gd name="T103" fmla="*/ 97 h 803"/>
                <a:gd name="T104" fmla="*/ 213 w 741"/>
                <a:gd name="T105" fmla="*/ 90 h 803"/>
                <a:gd name="T106" fmla="*/ 174 w 741"/>
                <a:gd name="T107" fmla="*/ 76 h 803"/>
                <a:gd name="T108" fmla="*/ 127 w 741"/>
                <a:gd name="T109" fmla="*/ 61 h 803"/>
                <a:gd name="T110" fmla="*/ 84 w 741"/>
                <a:gd name="T111" fmla="*/ 46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41" h="803">
                  <a:moveTo>
                    <a:pt x="77" y="61"/>
                  </a:moveTo>
                  <a:lnTo>
                    <a:pt x="68" y="73"/>
                  </a:lnTo>
                  <a:lnTo>
                    <a:pt x="52" y="72"/>
                  </a:lnTo>
                  <a:lnTo>
                    <a:pt x="36" y="82"/>
                  </a:lnTo>
                  <a:lnTo>
                    <a:pt x="16" y="87"/>
                  </a:lnTo>
                  <a:lnTo>
                    <a:pt x="7" y="98"/>
                  </a:lnTo>
                  <a:lnTo>
                    <a:pt x="3" y="115"/>
                  </a:lnTo>
                  <a:lnTo>
                    <a:pt x="8" y="129"/>
                  </a:lnTo>
                  <a:lnTo>
                    <a:pt x="14" y="141"/>
                  </a:lnTo>
                  <a:lnTo>
                    <a:pt x="15" y="148"/>
                  </a:lnTo>
                  <a:lnTo>
                    <a:pt x="4" y="159"/>
                  </a:lnTo>
                  <a:lnTo>
                    <a:pt x="0" y="170"/>
                  </a:lnTo>
                  <a:lnTo>
                    <a:pt x="8" y="179"/>
                  </a:lnTo>
                  <a:lnTo>
                    <a:pt x="23" y="186"/>
                  </a:lnTo>
                  <a:lnTo>
                    <a:pt x="41" y="191"/>
                  </a:lnTo>
                  <a:lnTo>
                    <a:pt x="55" y="198"/>
                  </a:lnTo>
                  <a:lnTo>
                    <a:pt x="65" y="212"/>
                  </a:lnTo>
                  <a:lnTo>
                    <a:pt x="75" y="224"/>
                  </a:lnTo>
                  <a:lnTo>
                    <a:pt x="88" y="237"/>
                  </a:lnTo>
                  <a:lnTo>
                    <a:pt x="104" y="242"/>
                  </a:lnTo>
                  <a:lnTo>
                    <a:pt x="123" y="247"/>
                  </a:lnTo>
                  <a:lnTo>
                    <a:pt x="127" y="260"/>
                  </a:lnTo>
                  <a:lnTo>
                    <a:pt x="123" y="281"/>
                  </a:lnTo>
                  <a:lnTo>
                    <a:pt x="124" y="301"/>
                  </a:lnTo>
                  <a:lnTo>
                    <a:pt x="127" y="323"/>
                  </a:lnTo>
                  <a:lnTo>
                    <a:pt x="124" y="338"/>
                  </a:lnTo>
                  <a:lnTo>
                    <a:pt x="127" y="355"/>
                  </a:lnTo>
                  <a:lnTo>
                    <a:pt x="135" y="362"/>
                  </a:lnTo>
                  <a:lnTo>
                    <a:pt x="151" y="360"/>
                  </a:lnTo>
                  <a:lnTo>
                    <a:pt x="166" y="362"/>
                  </a:lnTo>
                  <a:lnTo>
                    <a:pt x="171" y="374"/>
                  </a:lnTo>
                  <a:lnTo>
                    <a:pt x="167" y="388"/>
                  </a:lnTo>
                  <a:lnTo>
                    <a:pt x="170" y="403"/>
                  </a:lnTo>
                  <a:lnTo>
                    <a:pt x="178" y="414"/>
                  </a:lnTo>
                  <a:lnTo>
                    <a:pt x="189" y="429"/>
                  </a:lnTo>
                  <a:lnTo>
                    <a:pt x="194" y="442"/>
                  </a:lnTo>
                  <a:lnTo>
                    <a:pt x="188" y="459"/>
                  </a:lnTo>
                  <a:lnTo>
                    <a:pt x="187" y="479"/>
                  </a:lnTo>
                  <a:lnTo>
                    <a:pt x="189" y="496"/>
                  </a:lnTo>
                  <a:lnTo>
                    <a:pt x="198" y="513"/>
                  </a:lnTo>
                  <a:lnTo>
                    <a:pt x="212" y="525"/>
                  </a:lnTo>
                  <a:lnTo>
                    <a:pt x="228" y="533"/>
                  </a:lnTo>
                  <a:lnTo>
                    <a:pt x="249" y="536"/>
                  </a:lnTo>
                  <a:lnTo>
                    <a:pt x="264" y="532"/>
                  </a:lnTo>
                  <a:lnTo>
                    <a:pt x="279" y="526"/>
                  </a:lnTo>
                  <a:lnTo>
                    <a:pt x="295" y="532"/>
                  </a:lnTo>
                  <a:lnTo>
                    <a:pt x="304" y="544"/>
                  </a:lnTo>
                  <a:lnTo>
                    <a:pt x="318" y="554"/>
                  </a:lnTo>
                  <a:lnTo>
                    <a:pt x="335" y="558"/>
                  </a:lnTo>
                  <a:lnTo>
                    <a:pt x="349" y="569"/>
                  </a:lnTo>
                  <a:lnTo>
                    <a:pt x="364" y="575"/>
                  </a:lnTo>
                  <a:lnTo>
                    <a:pt x="379" y="585"/>
                  </a:lnTo>
                  <a:lnTo>
                    <a:pt x="387" y="600"/>
                  </a:lnTo>
                  <a:lnTo>
                    <a:pt x="394" y="616"/>
                  </a:lnTo>
                  <a:lnTo>
                    <a:pt x="392" y="632"/>
                  </a:lnTo>
                  <a:lnTo>
                    <a:pt x="397" y="643"/>
                  </a:lnTo>
                  <a:lnTo>
                    <a:pt x="407" y="657"/>
                  </a:lnTo>
                  <a:lnTo>
                    <a:pt x="405" y="671"/>
                  </a:lnTo>
                  <a:lnTo>
                    <a:pt x="396" y="682"/>
                  </a:lnTo>
                  <a:lnTo>
                    <a:pt x="386" y="700"/>
                  </a:lnTo>
                  <a:lnTo>
                    <a:pt x="392" y="713"/>
                  </a:lnTo>
                  <a:lnTo>
                    <a:pt x="403" y="733"/>
                  </a:lnTo>
                  <a:lnTo>
                    <a:pt x="411" y="749"/>
                  </a:lnTo>
                  <a:lnTo>
                    <a:pt x="405" y="770"/>
                  </a:lnTo>
                  <a:lnTo>
                    <a:pt x="401" y="787"/>
                  </a:lnTo>
                  <a:lnTo>
                    <a:pt x="403" y="798"/>
                  </a:lnTo>
                  <a:lnTo>
                    <a:pt x="414" y="802"/>
                  </a:lnTo>
                  <a:lnTo>
                    <a:pt x="425" y="794"/>
                  </a:lnTo>
                  <a:lnTo>
                    <a:pt x="434" y="779"/>
                  </a:lnTo>
                  <a:lnTo>
                    <a:pt x="451" y="772"/>
                  </a:lnTo>
                  <a:lnTo>
                    <a:pt x="470" y="777"/>
                  </a:lnTo>
                  <a:lnTo>
                    <a:pt x="486" y="787"/>
                  </a:lnTo>
                  <a:lnTo>
                    <a:pt x="506" y="785"/>
                  </a:lnTo>
                  <a:lnTo>
                    <a:pt x="534" y="780"/>
                  </a:lnTo>
                  <a:lnTo>
                    <a:pt x="552" y="773"/>
                  </a:lnTo>
                  <a:lnTo>
                    <a:pt x="563" y="752"/>
                  </a:lnTo>
                  <a:lnTo>
                    <a:pt x="566" y="733"/>
                  </a:lnTo>
                  <a:lnTo>
                    <a:pt x="580" y="722"/>
                  </a:lnTo>
                  <a:lnTo>
                    <a:pt x="587" y="707"/>
                  </a:lnTo>
                  <a:lnTo>
                    <a:pt x="598" y="698"/>
                  </a:lnTo>
                  <a:lnTo>
                    <a:pt x="617" y="704"/>
                  </a:lnTo>
                  <a:lnTo>
                    <a:pt x="632" y="709"/>
                  </a:lnTo>
                  <a:lnTo>
                    <a:pt x="642" y="700"/>
                  </a:lnTo>
                  <a:lnTo>
                    <a:pt x="649" y="682"/>
                  </a:lnTo>
                  <a:lnTo>
                    <a:pt x="664" y="668"/>
                  </a:lnTo>
                  <a:lnTo>
                    <a:pt x="678" y="675"/>
                  </a:lnTo>
                  <a:lnTo>
                    <a:pt x="690" y="683"/>
                  </a:lnTo>
                  <a:lnTo>
                    <a:pt x="706" y="676"/>
                  </a:lnTo>
                  <a:lnTo>
                    <a:pt x="726" y="675"/>
                  </a:lnTo>
                  <a:lnTo>
                    <a:pt x="736" y="666"/>
                  </a:lnTo>
                  <a:lnTo>
                    <a:pt x="740" y="654"/>
                  </a:lnTo>
                  <a:lnTo>
                    <a:pt x="725" y="640"/>
                  </a:lnTo>
                  <a:lnTo>
                    <a:pt x="718" y="625"/>
                  </a:lnTo>
                  <a:lnTo>
                    <a:pt x="708" y="611"/>
                  </a:lnTo>
                  <a:lnTo>
                    <a:pt x="699" y="593"/>
                  </a:lnTo>
                  <a:lnTo>
                    <a:pt x="703" y="575"/>
                  </a:lnTo>
                  <a:lnTo>
                    <a:pt x="713" y="562"/>
                  </a:lnTo>
                  <a:lnTo>
                    <a:pt x="724" y="549"/>
                  </a:lnTo>
                  <a:lnTo>
                    <a:pt x="726" y="526"/>
                  </a:lnTo>
                  <a:lnTo>
                    <a:pt x="721" y="503"/>
                  </a:lnTo>
                  <a:lnTo>
                    <a:pt x="724" y="488"/>
                  </a:lnTo>
                  <a:lnTo>
                    <a:pt x="710" y="475"/>
                  </a:lnTo>
                  <a:lnTo>
                    <a:pt x="702" y="459"/>
                  </a:lnTo>
                  <a:lnTo>
                    <a:pt x="706" y="443"/>
                  </a:lnTo>
                  <a:lnTo>
                    <a:pt x="702" y="429"/>
                  </a:lnTo>
                  <a:lnTo>
                    <a:pt x="693" y="423"/>
                  </a:lnTo>
                  <a:lnTo>
                    <a:pt x="674" y="413"/>
                  </a:lnTo>
                  <a:lnTo>
                    <a:pt x="663" y="399"/>
                  </a:lnTo>
                  <a:lnTo>
                    <a:pt x="667" y="380"/>
                  </a:lnTo>
                  <a:lnTo>
                    <a:pt x="678" y="360"/>
                  </a:lnTo>
                  <a:lnTo>
                    <a:pt x="682" y="342"/>
                  </a:lnTo>
                  <a:lnTo>
                    <a:pt x="678" y="327"/>
                  </a:lnTo>
                  <a:lnTo>
                    <a:pt x="663" y="308"/>
                  </a:lnTo>
                  <a:lnTo>
                    <a:pt x="643" y="288"/>
                  </a:lnTo>
                  <a:lnTo>
                    <a:pt x="627" y="266"/>
                  </a:lnTo>
                  <a:lnTo>
                    <a:pt x="613" y="247"/>
                  </a:lnTo>
                  <a:lnTo>
                    <a:pt x="596" y="229"/>
                  </a:lnTo>
                  <a:lnTo>
                    <a:pt x="581" y="222"/>
                  </a:lnTo>
                  <a:lnTo>
                    <a:pt x="566" y="213"/>
                  </a:lnTo>
                  <a:lnTo>
                    <a:pt x="558" y="194"/>
                  </a:lnTo>
                  <a:lnTo>
                    <a:pt x="563" y="176"/>
                  </a:lnTo>
                  <a:lnTo>
                    <a:pt x="571" y="154"/>
                  </a:lnTo>
                  <a:lnTo>
                    <a:pt x="583" y="137"/>
                  </a:lnTo>
                  <a:lnTo>
                    <a:pt x="598" y="121"/>
                  </a:lnTo>
                  <a:lnTo>
                    <a:pt x="609" y="101"/>
                  </a:lnTo>
                  <a:lnTo>
                    <a:pt x="613" y="85"/>
                  </a:lnTo>
                  <a:lnTo>
                    <a:pt x="606" y="68"/>
                  </a:lnTo>
                  <a:lnTo>
                    <a:pt x="602" y="53"/>
                  </a:lnTo>
                  <a:lnTo>
                    <a:pt x="603" y="37"/>
                  </a:lnTo>
                  <a:lnTo>
                    <a:pt x="583" y="43"/>
                  </a:lnTo>
                  <a:lnTo>
                    <a:pt x="573" y="60"/>
                  </a:lnTo>
                  <a:lnTo>
                    <a:pt x="562" y="75"/>
                  </a:lnTo>
                  <a:lnTo>
                    <a:pt x="545" y="72"/>
                  </a:lnTo>
                  <a:lnTo>
                    <a:pt x="531" y="68"/>
                  </a:lnTo>
                  <a:lnTo>
                    <a:pt x="527" y="54"/>
                  </a:lnTo>
                  <a:lnTo>
                    <a:pt x="512" y="49"/>
                  </a:lnTo>
                  <a:lnTo>
                    <a:pt x="505" y="33"/>
                  </a:lnTo>
                  <a:lnTo>
                    <a:pt x="491" y="24"/>
                  </a:lnTo>
                  <a:lnTo>
                    <a:pt x="476" y="7"/>
                  </a:lnTo>
                  <a:lnTo>
                    <a:pt x="458" y="0"/>
                  </a:lnTo>
                  <a:lnTo>
                    <a:pt x="443" y="8"/>
                  </a:lnTo>
                  <a:lnTo>
                    <a:pt x="432" y="28"/>
                  </a:lnTo>
                  <a:lnTo>
                    <a:pt x="423" y="49"/>
                  </a:lnTo>
                  <a:lnTo>
                    <a:pt x="405" y="53"/>
                  </a:lnTo>
                  <a:lnTo>
                    <a:pt x="393" y="64"/>
                  </a:lnTo>
                  <a:lnTo>
                    <a:pt x="380" y="68"/>
                  </a:lnTo>
                  <a:lnTo>
                    <a:pt x="369" y="69"/>
                  </a:lnTo>
                  <a:lnTo>
                    <a:pt x="360" y="80"/>
                  </a:lnTo>
                  <a:lnTo>
                    <a:pt x="356" y="94"/>
                  </a:lnTo>
                  <a:lnTo>
                    <a:pt x="338" y="98"/>
                  </a:lnTo>
                  <a:lnTo>
                    <a:pt x="317" y="100"/>
                  </a:lnTo>
                  <a:lnTo>
                    <a:pt x="300" y="107"/>
                  </a:lnTo>
                  <a:lnTo>
                    <a:pt x="286" y="112"/>
                  </a:lnTo>
                  <a:lnTo>
                    <a:pt x="271" y="103"/>
                  </a:lnTo>
                  <a:lnTo>
                    <a:pt x="257" y="97"/>
                  </a:lnTo>
                  <a:lnTo>
                    <a:pt x="243" y="97"/>
                  </a:lnTo>
                  <a:lnTo>
                    <a:pt x="234" y="89"/>
                  </a:lnTo>
                  <a:lnTo>
                    <a:pt x="223" y="85"/>
                  </a:lnTo>
                  <a:lnTo>
                    <a:pt x="213" y="90"/>
                  </a:lnTo>
                  <a:lnTo>
                    <a:pt x="200" y="97"/>
                  </a:lnTo>
                  <a:lnTo>
                    <a:pt x="185" y="91"/>
                  </a:lnTo>
                  <a:lnTo>
                    <a:pt x="174" y="76"/>
                  </a:lnTo>
                  <a:lnTo>
                    <a:pt x="160" y="61"/>
                  </a:lnTo>
                  <a:lnTo>
                    <a:pt x="145" y="60"/>
                  </a:lnTo>
                  <a:lnTo>
                    <a:pt x="127" y="61"/>
                  </a:lnTo>
                  <a:lnTo>
                    <a:pt x="112" y="54"/>
                  </a:lnTo>
                  <a:lnTo>
                    <a:pt x="99" y="44"/>
                  </a:lnTo>
                  <a:lnTo>
                    <a:pt x="84" y="46"/>
                  </a:lnTo>
                  <a:lnTo>
                    <a:pt x="77" y="6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3" name="Freeform 6"/>
            <p:cNvSpPr>
              <a:spLocks/>
            </p:cNvSpPr>
            <p:nvPr/>
          </p:nvSpPr>
          <p:spPr bwMode="gray">
            <a:xfrm>
              <a:off x="5596799" y="1844675"/>
              <a:ext cx="728338" cy="796409"/>
            </a:xfrm>
            <a:custGeom>
              <a:avLst/>
              <a:gdLst>
                <a:gd name="T0" fmla="*/ 0 w 545"/>
                <a:gd name="T1" fmla="*/ 42 h 596"/>
                <a:gd name="T2" fmla="*/ 21 w 545"/>
                <a:gd name="T3" fmla="*/ 85 h 596"/>
                <a:gd name="T4" fmla="*/ 53 w 545"/>
                <a:gd name="T5" fmla="*/ 131 h 596"/>
                <a:gd name="T6" fmla="*/ 75 w 545"/>
                <a:gd name="T7" fmla="*/ 173 h 596"/>
                <a:gd name="T8" fmla="*/ 18 w 545"/>
                <a:gd name="T9" fmla="*/ 211 h 596"/>
                <a:gd name="T10" fmla="*/ 22 w 545"/>
                <a:gd name="T11" fmla="*/ 248 h 596"/>
                <a:gd name="T12" fmla="*/ 54 w 545"/>
                <a:gd name="T13" fmla="*/ 237 h 596"/>
                <a:gd name="T14" fmla="*/ 37 w 545"/>
                <a:gd name="T15" fmla="*/ 259 h 596"/>
                <a:gd name="T16" fmla="*/ 32 w 545"/>
                <a:gd name="T17" fmla="*/ 298 h 596"/>
                <a:gd name="T18" fmla="*/ 68 w 545"/>
                <a:gd name="T19" fmla="*/ 309 h 596"/>
                <a:gd name="T20" fmla="*/ 75 w 545"/>
                <a:gd name="T21" fmla="*/ 348 h 596"/>
                <a:gd name="T22" fmla="*/ 51 w 545"/>
                <a:gd name="T23" fmla="*/ 356 h 596"/>
                <a:gd name="T24" fmla="*/ 69 w 545"/>
                <a:gd name="T25" fmla="*/ 391 h 596"/>
                <a:gd name="T26" fmla="*/ 137 w 545"/>
                <a:gd name="T27" fmla="*/ 409 h 596"/>
                <a:gd name="T28" fmla="*/ 191 w 545"/>
                <a:gd name="T29" fmla="*/ 455 h 596"/>
                <a:gd name="T30" fmla="*/ 220 w 545"/>
                <a:gd name="T31" fmla="*/ 503 h 596"/>
                <a:gd name="T32" fmla="*/ 251 w 545"/>
                <a:gd name="T33" fmla="*/ 489 h 596"/>
                <a:gd name="T34" fmla="*/ 291 w 545"/>
                <a:gd name="T35" fmla="*/ 462 h 596"/>
                <a:gd name="T36" fmla="*/ 335 w 545"/>
                <a:gd name="T37" fmla="*/ 438 h 596"/>
                <a:gd name="T38" fmla="*/ 352 w 545"/>
                <a:gd name="T39" fmla="*/ 474 h 596"/>
                <a:gd name="T40" fmla="*/ 360 w 545"/>
                <a:gd name="T41" fmla="*/ 529 h 596"/>
                <a:gd name="T42" fmla="*/ 381 w 545"/>
                <a:gd name="T43" fmla="*/ 572 h 596"/>
                <a:gd name="T44" fmla="*/ 404 w 545"/>
                <a:gd name="T45" fmla="*/ 595 h 596"/>
                <a:gd name="T46" fmla="*/ 453 w 545"/>
                <a:gd name="T47" fmla="*/ 557 h 596"/>
                <a:gd name="T48" fmla="*/ 486 w 545"/>
                <a:gd name="T49" fmla="*/ 506 h 596"/>
                <a:gd name="T50" fmla="*/ 483 w 545"/>
                <a:gd name="T51" fmla="*/ 455 h 596"/>
                <a:gd name="T52" fmla="*/ 478 w 545"/>
                <a:gd name="T53" fmla="*/ 385 h 596"/>
                <a:gd name="T54" fmla="*/ 455 w 545"/>
                <a:gd name="T55" fmla="*/ 345 h 596"/>
                <a:gd name="T56" fmla="*/ 485 w 545"/>
                <a:gd name="T57" fmla="*/ 309 h 596"/>
                <a:gd name="T58" fmla="*/ 523 w 545"/>
                <a:gd name="T59" fmla="*/ 300 h 596"/>
                <a:gd name="T60" fmla="*/ 525 w 545"/>
                <a:gd name="T61" fmla="*/ 246 h 596"/>
                <a:gd name="T62" fmla="*/ 536 w 545"/>
                <a:gd name="T63" fmla="*/ 214 h 596"/>
                <a:gd name="T64" fmla="*/ 498 w 545"/>
                <a:gd name="T65" fmla="*/ 214 h 596"/>
                <a:gd name="T66" fmla="*/ 461 w 545"/>
                <a:gd name="T67" fmla="*/ 241 h 596"/>
                <a:gd name="T68" fmla="*/ 419 w 545"/>
                <a:gd name="T69" fmla="*/ 209 h 596"/>
                <a:gd name="T70" fmla="*/ 368 w 545"/>
                <a:gd name="T71" fmla="*/ 201 h 596"/>
                <a:gd name="T72" fmla="*/ 324 w 545"/>
                <a:gd name="T73" fmla="*/ 234 h 596"/>
                <a:gd name="T74" fmla="*/ 331 w 545"/>
                <a:gd name="T75" fmla="*/ 178 h 596"/>
                <a:gd name="T76" fmla="*/ 296 w 545"/>
                <a:gd name="T77" fmla="*/ 161 h 596"/>
                <a:gd name="T78" fmla="*/ 307 w 545"/>
                <a:gd name="T79" fmla="*/ 119 h 596"/>
                <a:gd name="T80" fmla="*/ 259 w 545"/>
                <a:gd name="T81" fmla="*/ 158 h 596"/>
                <a:gd name="T82" fmla="*/ 240 w 545"/>
                <a:gd name="T83" fmla="*/ 140 h 596"/>
                <a:gd name="T84" fmla="*/ 292 w 545"/>
                <a:gd name="T85" fmla="*/ 103 h 596"/>
                <a:gd name="T86" fmla="*/ 292 w 545"/>
                <a:gd name="T87" fmla="*/ 58 h 596"/>
                <a:gd name="T88" fmla="*/ 241 w 545"/>
                <a:gd name="T89" fmla="*/ 56 h 596"/>
                <a:gd name="T90" fmla="*/ 174 w 545"/>
                <a:gd name="T91" fmla="*/ 49 h 596"/>
                <a:gd name="T92" fmla="*/ 120 w 545"/>
                <a:gd name="T93" fmla="*/ 35 h 596"/>
                <a:gd name="T94" fmla="*/ 60 w 545"/>
                <a:gd name="T95" fmla="*/ 4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45" h="596">
                  <a:moveTo>
                    <a:pt x="15" y="6"/>
                  </a:moveTo>
                  <a:lnTo>
                    <a:pt x="6" y="25"/>
                  </a:lnTo>
                  <a:lnTo>
                    <a:pt x="0" y="42"/>
                  </a:lnTo>
                  <a:lnTo>
                    <a:pt x="7" y="58"/>
                  </a:lnTo>
                  <a:lnTo>
                    <a:pt x="18" y="67"/>
                  </a:lnTo>
                  <a:lnTo>
                    <a:pt x="21" y="85"/>
                  </a:lnTo>
                  <a:lnTo>
                    <a:pt x="37" y="93"/>
                  </a:lnTo>
                  <a:lnTo>
                    <a:pt x="44" y="111"/>
                  </a:lnTo>
                  <a:lnTo>
                    <a:pt x="53" y="131"/>
                  </a:lnTo>
                  <a:lnTo>
                    <a:pt x="68" y="135"/>
                  </a:lnTo>
                  <a:lnTo>
                    <a:pt x="79" y="157"/>
                  </a:lnTo>
                  <a:lnTo>
                    <a:pt x="75" y="173"/>
                  </a:lnTo>
                  <a:lnTo>
                    <a:pt x="58" y="187"/>
                  </a:lnTo>
                  <a:lnTo>
                    <a:pt x="37" y="194"/>
                  </a:lnTo>
                  <a:lnTo>
                    <a:pt x="18" y="211"/>
                  </a:lnTo>
                  <a:lnTo>
                    <a:pt x="10" y="226"/>
                  </a:lnTo>
                  <a:lnTo>
                    <a:pt x="12" y="244"/>
                  </a:lnTo>
                  <a:lnTo>
                    <a:pt x="22" y="248"/>
                  </a:lnTo>
                  <a:lnTo>
                    <a:pt x="29" y="239"/>
                  </a:lnTo>
                  <a:lnTo>
                    <a:pt x="43" y="233"/>
                  </a:lnTo>
                  <a:lnTo>
                    <a:pt x="54" y="237"/>
                  </a:lnTo>
                  <a:lnTo>
                    <a:pt x="53" y="246"/>
                  </a:lnTo>
                  <a:lnTo>
                    <a:pt x="44" y="252"/>
                  </a:lnTo>
                  <a:lnTo>
                    <a:pt x="37" y="259"/>
                  </a:lnTo>
                  <a:lnTo>
                    <a:pt x="37" y="275"/>
                  </a:lnTo>
                  <a:lnTo>
                    <a:pt x="30" y="286"/>
                  </a:lnTo>
                  <a:lnTo>
                    <a:pt x="32" y="298"/>
                  </a:lnTo>
                  <a:lnTo>
                    <a:pt x="43" y="305"/>
                  </a:lnTo>
                  <a:lnTo>
                    <a:pt x="58" y="302"/>
                  </a:lnTo>
                  <a:lnTo>
                    <a:pt x="68" y="309"/>
                  </a:lnTo>
                  <a:lnTo>
                    <a:pt x="79" y="330"/>
                  </a:lnTo>
                  <a:lnTo>
                    <a:pt x="83" y="344"/>
                  </a:lnTo>
                  <a:lnTo>
                    <a:pt x="75" y="348"/>
                  </a:lnTo>
                  <a:lnTo>
                    <a:pt x="62" y="341"/>
                  </a:lnTo>
                  <a:lnTo>
                    <a:pt x="51" y="345"/>
                  </a:lnTo>
                  <a:lnTo>
                    <a:pt x="51" y="356"/>
                  </a:lnTo>
                  <a:lnTo>
                    <a:pt x="58" y="366"/>
                  </a:lnTo>
                  <a:lnTo>
                    <a:pt x="60" y="378"/>
                  </a:lnTo>
                  <a:lnTo>
                    <a:pt x="69" y="391"/>
                  </a:lnTo>
                  <a:lnTo>
                    <a:pt x="93" y="390"/>
                  </a:lnTo>
                  <a:lnTo>
                    <a:pt x="118" y="398"/>
                  </a:lnTo>
                  <a:lnTo>
                    <a:pt x="137" y="409"/>
                  </a:lnTo>
                  <a:lnTo>
                    <a:pt x="161" y="428"/>
                  </a:lnTo>
                  <a:lnTo>
                    <a:pt x="174" y="444"/>
                  </a:lnTo>
                  <a:lnTo>
                    <a:pt x="191" y="455"/>
                  </a:lnTo>
                  <a:lnTo>
                    <a:pt x="205" y="470"/>
                  </a:lnTo>
                  <a:lnTo>
                    <a:pt x="212" y="485"/>
                  </a:lnTo>
                  <a:lnTo>
                    <a:pt x="220" y="503"/>
                  </a:lnTo>
                  <a:lnTo>
                    <a:pt x="233" y="513"/>
                  </a:lnTo>
                  <a:lnTo>
                    <a:pt x="245" y="503"/>
                  </a:lnTo>
                  <a:lnTo>
                    <a:pt x="251" y="489"/>
                  </a:lnTo>
                  <a:lnTo>
                    <a:pt x="267" y="485"/>
                  </a:lnTo>
                  <a:lnTo>
                    <a:pt x="277" y="475"/>
                  </a:lnTo>
                  <a:lnTo>
                    <a:pt x="291" y="462"/>
                  </a:lnTo>
                  <a:lnTo>
                    <a:pt x="313" y="457"/>
                  </a:lnTo>
                  <a:lnTo>
                    <a:pt x="321" y="445"/>
                  </a:lnTo>
                  <a:lnTo>
                    <a:pt x="335" y="438"/>
                  </a:lnTo>
                  <a:lnTo>
                    <a:pt x="341" y="446"/>
                  </a:lnTo>
                  <a:lnTo>
                    <a:pt x="343" y="464"/>
                  </a:lnTo>
                  <a:lnTo>
                    <a:pt x="352" y="474"/>
                  </a:lnTo>
                  <a:lnTo>
                    <a:pt x="363" y="485"/>
                  </a:lnTo>
                  <a:lnTo>
                    <a:pt x="359" y="505"/>
                  </a:lnTo>
                  <a:lnTo>
                    <a:pt x="360" y="529"/>
                  </a:lnTo>
                  <a:lnTo>
                    <a:pt x="363" y="545"/>
                  </a:lnTo>
                  <a:lnTo>
                    <a:pt x="377" y="556"/>
                  </a:lnTo>
                  <a:lnTo>
                    <a:pt x="381" y="572"/>
                  </a:lnTo>
                  <a:lnTo>
                    <a:pt x="385" y="579"/>
                  </a:lnTo>
                  <a:lnTo>
                    <a:pt x="393" y="589"/>
                  </a:lnTo>
                  <a:lnTo>
                    <a:pt x="404" y="595"/>
                  </a:lnTo>
                  <a:lnTo>
                    <a:pt x="425" y="595"/>
                  </a:lnTo>
                  <a:lnTo>
                    <a:pt x="440" y="574"/>
                  </a:lnTo>
                  <a:lnTo>
                    <a:pt x="453" y="557"/>
                  </a:lnTo>
                  <a:lnTo>
                    <a:pt x="472" y="549"/>
                  </a:lnTo>
                  <a:lnTo>
                    <a:pt x="485" y="531"/>
                  </a:lnTo>
                  <a:lnTo>
                    <a:pt x="486" y="506"/>
                  </a:lnTo>
                  <a:lnTo>
                    <a:pt x="493" y="482"/>
                  </a:lnTo>
                  <a:lnTo>
                    <a:pt x="494" y="466"/>
                  </a:lnTo>
                  <a:lnTo>
                    <a:pt x="483" y="455"/>
                  </a:lnTo>
                  <a:lnTo>
                    <a:pt x="475" y="438"/>
                  </a:lnTo>
                  <a:lnTo>
                    <a:pt x="476" y="412"/>
                  </a:lnTo>
                  <a:lnTo>
                    <a:pt x="478" y="385"/>
                  </a:lnTo>
                  <a:lnTo>
                    <a:pt x="475" y="381"/>
                  </a:lnTo>
                  <a:lnTo>
                    <a:pt x="464" y="363"/>
                  </a:lnTo>
                  <a:lnTo>
                    <a:pt x="455" y="345"/>
                  </a:lnTo>
                  <a:lnTo>
                    <a:pt x="458" y="331"/>
                  </a:lnTo>
                  <a:lnTo>
                    <a:pt x="468" y="316"/>
                  </a:lnTo>
                  <a:lnTo>
                    <a:pt x="485" y="309"/>
                  </a:lnTo>
                  <a:lnTo>
                    <a:pt x="500" y="316"/>
                  </a:lnTo>
                  <a:lnTo>
                    <a:pt x="508" y="305"/>
                  </a:lnTo>
                  <a:lnTo>
                    <a:pt x="523" y="300"/>
                  </a:lnTo>
                  <a:lnTo>
                    <a:pt x="530" y="283"/>
                  </a:lnTo>
                  <a:lnTo>
                    <a:pt x="522" y="261"/>
                  </a:lnTo>
                  <a:lnTo>
                    <a:pt x="525" y="246"/>
                  </a:lnTo>
                  <a:lnTo>
                    <a:pt x="536" y="233"/>
                  </a:lnTo>
                  <a:lnTo>
                    <a:pt x="544" y="222"/>
                  </a:lnTo>
                  <a:lnTo>
                    <a:pt x="536" y="214"/>
                  </a:lnTo>
                  <a:lnTo>
                    <a:pt x="519" y="219"/>
                  </a:lnTo>
                  <a:lnTo>
                    <a:pt x="507" y="225"/>
                  </a:lnTo>
                  <a:lnTo>
                    <a:pt x="498" y="214"/>
                  </a:lnTo>
                  <a:lnTo>
                    <a:pt x="485" y="215"/>
                  </a:lnTo>
                  <a:lnTo>
                    <a:pt x="475" y="229"/>
                  </a:lnTo>
                  <a:lnTo>
                    <a:pt x="461" y="241"/>
                  </a:lnTo>
                  <a:lnTo>
                    <a:pt x="444" y="243"/>
                  </a:lnTo>
                  <a:lnTo>
                    <a:pt x="437" y="218"/>
                  </a:lnTo>
                  <a:lnTo>
                    <a:pt x="419" y="209"/>
                  </a:lnTo>
                  <a:lnTo>
                    <a:pt x="399" y="211"/>
                  </a:lnTo>
                  <a:lnTo>
                    <a:pt x="383" y="200"/>
                  </a:lnTo>
                  <a:lnTo>
                    <a:pt x="368" y="201"/>
                  </a:lnTo>
                  <a:lnTo>
                    <a:pt x="356" y="211"/>
                  </a:lnTo>
                  <a:lnTo>
                    <a:pt x="343" y="225"/>
                  </a:lnTo>
                  <a:lnTo>
                    <a:pt x="324" y="234"/>
                  </a:lnTo>
                  <a:lnTo>
                    <a:pt x="325" y="214"/>
                  </a:lnTo>
                  <a:lnTo>
                    <a:pt x="336" y="196"/>
                  </a:lnTo>
                  <a:lnTo>
                    <a:pt x="331" y="178"/>
                  </a:lnTo>
                  <a:lnTo>
                    <a:pt x="313" y="172"/>
                  </a:lnTo>
                  <a:lnTo>
                    <a:pt x="287" y="178"/>
                  </a:lnTo>
                  <a:lnTo>
                    <a:pt x="296" y="161"/>
                  </a:lnTo>
                  <a:lnTo>
                    <a:pt x="306" y="150"/>
                  </a:lnTo>
                  <a:lnTo>
                    <a:pt x="313" y="132"/>
                  </a:lnTo>
                  <a:lnTo>
                    <a:pt x="307" y="119"/>
                  </a:lnTo>
                  <a:lnTo>
                    <a:pt x="292" y="119"/>
                  </a:lnTo>
                  <a:lnTo>
                    <a:pt x="274" y="139"/>
                  </a:lnTo>
                  <a:lnTo>
                    <a:pt x="259" y="158"/>
                  </a:lnTo>
                  <a:lnTo>
                    <a:pt x="240" y="165"/>
                  </a:lnTo>
                  <a:lnTo>
                    <a:pt x="230" y="161"/>
                  </a:lnTo>
                  <a:lnTo>
                    <a:pt x="240" y="140"/>
                  </a:lnTo>
                  <a:lnTo>
                    <a:pt x="253" y="125"/>
                  </a:lnTo>
                  <a:lnTo>
                    <a:pt x="269" y="111"/>
                  </a:lnTo>
                  <a:lnTo>
                    <a:pt x="292" y="103"/>
                  </a:lnTo>
                  <a:lnTo>
                    <a:pt x="302" y="88"/>
                  </a:lnTo>
                  <a:lnTo>
                    <a:pt x="305" y="71"/>
                  </a:lnTo>
                  <a:lnTo>
                    <a:pt x="292" y="58"/>
                  </a:lnTo>
                  <a:lnTo>
                    <a:pt x="277" y="61"/>
                  </a:lnTo>
                  <a:lnTo>
                    <a:pt x="259" y="71"/>
                  </a:lnTo>
                  <a:lnTo>
                    <a:pt x="241" y="56"/>
                  </a:lnTo>
                  <a:lnTo>
                    <a:pt x="216" y="43"/>
                  </a:lnTo>
                  <a:lnTo>
                    <a:pt x="191" y="42"/>
                  </a:lnTo>
                  <a:lnTo>
                    <a:pt x="174" y="49"/>
                  </a:lnTo>
                  <a:lnTo>
                    <a:pt x="151" y="50"/>
                  </a:lnTo>
                  <a:lnTo>
                    <a:pt x="129" y="40"/>
                  </a:lnTo>
                  <a:lnTo>
                    <a:pt x="120" y="35"/>
                  </a:lnTo>
                  <a:lnTo>
                    <a:pt x="107" y="27"/>
                  </a:lnTo>
                  <a:lnTo>
                    <a:pt x="83" y="16"/>
                  </a:lnTo>
                  <a:lnTo>
                    <a:pt x="60" y="4"/>
                  </a:lnTo>
                  <a:lnTo>
                    <a:pt x="36" y="0"/>
                  </a:lnTo>
                  <a:lnTo>
                    <a:pt x="15" y="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grpSp>
          <p:nvGrpSpPr>
            <p:cNvPr id="34" name="Group 7"/>
            <p:cNvGrpSpPr>
              <a:grpSpLocks/>
            </p:cNvGrpSpPr>
            <p:nvPr/>
          </p:nvGrpSpPr>
          <p:grpSpPr bwMode="gray">
            <a:xfrm>
              <a:off x="6164769" y="1962266"/>
              <a:ext cx="1127922" cy="852532"/>
              <a:chOff x="3006" y="868"/>
              <a:chExt cx="844" cy="638"/>
            </a:xfrm>
            <a:grpFill/>
          </p:grpSpPr>
          <p:sp>
            <p:nvSpPr>
              <p:cNvPr id="50" name="Freeform 8"/>
              <p:cNvSpPr>
                <a:spLocks/>
              </p:cNvSpPr>
              <p:nvPr/>
            </p:nvSpPr>
            <p:spPr bwMode="gray">
              <a:xfrm>
                <a:off x="3006" y="942"/>
                <a:ext cx="844" cy="564"/>
              </a:xfrm>
              <a:custGeom>
                <a:avLst/>
                <a:gdLst>
                  <a:gd name="T0" fmla="*/ 282 w 844"/>
                  <a:gd name="T1" fmla="*/ 463 h 564"/>
                  <a:gd name="T2" fmla="*/ 237 w 844"/>
                  <a:gd name="T3" fmla="*/ 489 h 564"/>
                  <a:gd name="T4" fmla="*/ 245 w 844"/>
                  <a:gd name="T5" fmla="*/ 539 h 564"/>
                  <a:gd name="T6" fmla="*/ 226 w 844"/>
                  <a:gd name="T7" fmla="*/ 546 h 564"/>
                  <a:gd name="T8" fmla="*/ 192 w 844"/>
                  <a:gd name="T9" fmla="*/ 527 h 564"/>
                  <a:gd name="T10" fmla="*/ 156 w 844"/>
                  <a:gd name="T11" fmla="*/ 530 h 564"/>
                  <a:gd name="T12" fmla="*/ 115 w 844"/>
                  <a:gd name="T13" fmla="*/ 506 h 564"/>
                  <a:gd name="T14" fmla="*/ 48 w 844"/>
                  <a:gd name="T15" fmla="*/ 474 h 564"/>
                  <a:gd name="T16" fmla="*/ 22 w 844"/>
                  <a:gd name="T17" fmla="*/ 437 h 564"/>
                  <a:gd name="T18" fmla="*/ 15 w 844"/>
                  <a:gd name="T19" fmla="*/ 413 h 564"/>
                  <a:gd name="T20" fmla="*/ 60 w 844"/>
                  <a:gd name="T21" fmla="*/ 369 h 564"/>
                  <a:gd name="T22" fmla="*/ 69 w 844"/>
                  <a:gd name="T23" fmla="*/ 305 h 564"/>
                  <a:gd name="T24" fmla="*/ 51 w 844"/>
                  <a:gd name="T25" fmla="*/ 251 h 564"/>
                  <a:gd name="T26" fmla="*/ 68 w 844"/>
                  <a:gd name="T27" fmla="*/ 247 h 564"/>
                  <a:gd name="T28" fmla="*/ 76 w 844"/>
                  <a:gd name="T29" fmla="*/ 204 h 564"/>
                  <a:gd name="T30" fmla="*/ 118 w 844"/>
                  <a:gd name="T31" fmla="*/ 193 h 564"/>
                  <a:gd name="T32" fmla="*/ 162 w 844"/>
                  <a:gd name="T33" fmla="*/ 216 h 564"/>
                  <a:gd name="T34" fmla="*/ 185 w 844"/>
                  <a:gd name="T35" fmla="*/ 190 h 564"/>
                  <a:gd name="T36" fmla="*/ 191 w 844"/>
                  <a:gd name="T37" fmla="*/ 160 h 564"/>
                  <a:gd name="T38" fmla="*/ 231 w 844"/>
                  <a:gd name="T39" fmla="*/ 140 h 564"/>
                  <a:gd name="T40" fmla="*/ 284 w 844"/>
                  <a:gd name="T41" fmla="*/ 131 h 564"/>
                  <a:gd name="T42" fmla="*/ 311 w 844"/>
                  <a:gd name="T43" fmla="*/ 154 h 564"/>
                  <a:gd name="T44" fmla="*/ 321 w 844"/>
                  <a:gd name="T45" fmla="*/ 125 h 564"/>
                  <a:gd name="T46" fmla="*/ 357 w 844"/>
                  <a:gd name="T47" fmla="*/ 71 h 564"/>
                  <a:gd name="T48" fmla="*/ 388 w 844"/>
                  <a:gd name="T49" fmla="*/ 14 h 564"/>
                  <a:gd name="T50" fmla="*/ 440 w 844"/>
                  <a:gd name="T51" fmla="*/ 2 h 564"/>
                  <a:gd name="T52" fmla="*/ 482 w 844"/>
                  <a:gd name="T53" fmla="*/ 11 h 564"/>
                  <a:gd name="T54" fmla="*/ 443 w 844"/>
                  <a:gd name="T55" fmla="*/ 23 h 564"/>
                  <a:gd name="T56" fmla="*/ 406 w 844"/>
                  <a:gd name="T57" fmla="*/ 36 h 564"/>
                  <a:gd name="T58" fmla="*/ 376 w 844"/>
                  <a:gd name="T59" fmla="*/ 68 h 564"/>
                  <a:gd name="T60" fmla="*/ 386 w 844"/>
                  <a:gd name="T61" fmla="*/ 88 h 564"/>
                  <a:gd name="T62" fmla="*/ 414 w 844"/>
                  <a:gd name="T63" fmla="*/ 49 h 564"/>
                  <a:gd name="T64" fmla="*/ 448 w 844"/>
                  <a:gd name="T65" fmla="*/ 36 h 564"/>
                  <a:gd name="T66" fmla="*/ 476 w 844"/>
                  <a:gd name="T67" fmla="*/ 47 h 564"/>
                  <a:gd name="T68" fmla="*/ 507 w 844"/>
                  <a:gd name="T69" fmla="*/ 47 h 564"/>
                  <a:gd name="T70" fmla="*/ 538 w 844"/>
                  <a:gd name="T71" fmla="*/ 82 h 564"/>
                  <a:gd name="T72" fmla="*/ 586 w 844"/>
                  <a:gd name="T73" fmla="*/ 118 h 564"/>
                  <a:gd name="T74" fmla="*/ 612 w 844"/>
                  <a:gd name="T75" fmla="*/ 129 h 564"/>
                  <a:gd name="T76" fmla="*/ 631 w 844"/>
                  <a:gd name="T77" fmla="*/ 117 h 564"/>
                  <a:gd name="T78" fmla="*/ 669 w 844"/>
                  <a:gd name="T79" fmla="*/ 125 h 564"/>
                  <a:gd name="T80" fmla="*/ 670 w 844"/>
                  <a:gd name="T81" fmla="*/ 176 h 564"/>
                  <a:gd name="T82" fmla="*/ 691 w 844"/>
                  <a:gd name="T83" fmla="*/ 219 h 564"/>
                  <a:gd name="T84" fmla="*/ 720 w 844"/>
                  <a:gd name="T85" fmla="*/ 253 h 564"/>
                  <a:gd name="T86" fmla="*/ 764 w 844"/>
                  <a:gd name="T87" fmla="*/ 258 h 564"/>
                  <a:gd name="T88" fmla="*/ 793 w 844"/>
                  <a:gd name="T89" fmla="*/ 273 h 564"/>
                  <a:gd name="T90" fmla="*/ 804 w 844"/>
                  <a:gd name="T91" fmla="*/ 343 h 564"/>
                  <a:gd name="T92" fmla="*/ 837 w 844"/>
                  <a:gd name="T93" fmla="*/ 402 h 564"/>
                  <a:gd name="T94" fmla="*/ 813 w 844"/>
                  <a:gd name="T95" fmla="*/ 434 h 564"/>
                  <a:gd name="T96" fmla="*/ 775 w 844"/>
                  <a:gd name="T97" fmla="*/ 463 h 564"/>
                  <a:gd name="T98" fmla="*/ 742 w 844"/>
                  <a:gd name="T99" fmla="*/ 440 h 564"/>
                  <a:gd name="T100" fmla="*/ 706 w 844"/>
                  <a:gd name="T101" fmla="*/ 398 h 564"/>
                  <a:gd name="T102" fmla="*/ 662 w 844"/>
                  <a:gd name="T103" fmla="*/ 419 h 564"/>
                  <a:gd name="T104" fmla="*/ 623 w 844"/>
                  <a:gd name="T105" fmla="*/ 455 h 564"/>
                  <a:gd name="T106" fmla="*/ 590 w 844"/>
                  <a:gd name="T107" fmla="*/ 471 h 564"/>
                  <a:gd name="T108" fmla="*/ 547 w 844"/>
                  <a:gd name="T109" fmla="*/ 491 h 564"/>
                  <a:gd name="T110" fmla="*/ 501 w 844"/>
                  <a:gd name="T111" fmla="*/ 494 h 564"/>
                  <a:gd name="T112" fmla="*/ 464 w 844"/>
                  <a:gd name="T113" fmla="*/ 480 h 564"/>
                  <a:gd name="T114" fmla="*/ 430 w 844"/>
                  <a:gd name="T115" fmla="*/ 488 h 564"/>
                  <a:gd name="T116" fmla="*/ 390 w 844"/>
                  <a:gd name="T117" fmla="*/ 452 h 564"/>
                  <a:gd name="T118" fmla="*/ 342 w 844"/>
                  <a:gd name="T119" fmla="*/ 445 h 564"/>
                  <a:gd name="T120" fmla="*/ 307 w 844"/>
                  <a:gd name="T121" fmla="*/ 452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4" h="564">
                    <a:moveTo>
                      <a:pt x="307" y="452"/>
                    </a:moveTo>
                    <a:lnTo>
                      <a:pt x="298" y="464"/>
                    </a:lnTo>
                    <a:lnTo>
                      <a:pt x="282" y="463"/>
                    </a:lnTo>
                    <a:lnTo>
                      <a:pt x="266" y="473"/>
                    </a:lnTo>
                    <a:lnTo>
                      <a:pt x="246" y="478"/>
                    </a:lnTo>
                    <a:lnTo>
                      <a:pt x="237" y="489"/>
                    </a:lnTo>
                    <a:lnTo>
                      <a:pt x="233" y="506"/>
                    </a:lnTo>
                    <a:lnTo>
                      <a:pt x="238" y="520"/>
                    </a:lnTo>
                    <a:lnTo>
                      <a:pt x="245" y="539"/>
                    </a:lnTo>
                    <a:lnTo>
                      <a:pt x="234" y="550"/>
                    </a:lnTo>
                    <a:lnTo>
                      <a:pt x="231" y="563"/>
                    </a:lnTo>
                    <a:lnTo>
                      <a:pt x="226" y="546"/>
                    </a:lnTo>
                    <a:lnTo>
                      <a:pt x="210" y="535"/>
                    </a:lnTo>
                    <a:lnTo>
                      <a:pt x="199" y="531"/>
                    </a:lnTo>
                    <a:lnTo>
                      <a:pt x="192" y="527"/>
                    </a:lnTo>
                    <a:lnTo>
                      <a:pt x="176" y="534"/>
                    </a:lnTo>
                    <a:lnTo>
                      <a:pt x="163" y="531"/>
                    </a:lnTo>
                    <a:lnTo>
                      <a:pt x="156" y="530"/>
                    </a:lnTo>
                    <a:lnTo>
                      <a:pt x="145" y="517"/>
                    </a:lnTo>
                    <a:lnTo>
                      <a:pt x="131" y="509"/>
                    </a:lnTo>
                    <a:lnTo>
                      <a:pt x="115" y="506"/>
                    </a:lnTo>
                    <a:lnTo>
                      <a:pt x="93" y="496"/>
                    </a:lnTo>
                    <a:lnTo>
                      <a:pt x="65" y="478"/>
                    </a:lnTo>
                    <a:lnTo>
                      <a:pt x="48" y="474"/>
                    </a:lnTo>
                    <a:lnTo>
                      <a:pt x="44" y="466"/>
                    </a:lnTo>
                    <a:lnTo>
                      <a:pt x="35" y="452"/>
                    </a:lnTo>
                    <a:lnTo>
                      <a:pt x="22" y="437"/>
                    </a:lnTo>
                    <a:lnTo>
                      <a:pt x="10" y="433"/>
                    </a:lnTo>
                    <a:lnTo>
                      <a:pt x="0" y="433"/>
                    </a:lnTo>
                    <a:lnTo>
                      <a:pt x="15" y="413"/>
                    </a:lnTo>
                    <a:lnTo>
                      <a:pt x="28" y="397"/>
                    </a:lnTo>
                    <a:lnTo>
                      <a:pt x="47" y="387"/>
                    </a:lnTo>
                    <a:lnTo>
                      <a:pt x="60" y="369"/>
                    </a:lnTo>
                    <a:lnTo>
                      <a:pt x="61" y="345"/>
                    </a:lnTo>
                    <a:lnTo>
                      <a:pt x="68" y="322"/>
                    </a:lnTo>
                    <a:lnTo>
                      <a:pt x="69" y="305"/>
                    </a:lnTo>
                    <a:lnTo>
                      <a:pt x="58" y="295"/>
                    </a:lnTo>
                    <a:lnTo>
                      <a:pt x="50" y="277"/>
                    </a:lnTo>
                    <a:lnTo>
                      <a:pt x="51" y="251"/>
                    </a:lnTo>
                    <a:lnTo>
                      <a:pt x="53" y="225"/>
                    </a:lnTo>
                    <a:lnTo>
                      <a:pt x="58" y="243"/>
                    </a:lnTo>
                    <a:lnTo>
                      <a:pt x="68" y="247"/>
                    </a:lnTo>
                    <a:lnTo>
                      <a:pt x="79" y="239"/>
                    </a:lnTo>
                    <a:lnTo>
                      <a:pt x="75" y="219"/>
                    </a:lnTo>
                    <a:lnTo>
                      <a:pt x="76" y="204"/>
                    </a:lnTo>
                    <a:lnTo>
                      <a:pt x="84" y="193"/>
                    </a:lnTo>
                    <a:lnTo>
                      <a:pt x="102" y="189"/>
                    </a:lnTo>
                    <a:lnTo>
                      <a:pt x="118" y="193"/>
                    </a:lnTo>
                    <a:lnTo>
                      <a:pt x="136" y="212"/>
                    </a:lnTo>
                    <a:lnTo>
                      <a:pt x="148" y="208"/>
                    </a:lnTo>
                    <a:lnTo>
                      <a:pt x="162" y="216"/>
                    </a:lnTo>
                    <a:lnTo>
                      <a:pt x="177" y="221"/>
                    </a:lnTo>
                    <a:lnTo>
                      <a:pt x="187" y="208"/>
                    </a:lnTo>
                    <a:lnTo>
                      <a:pt x="185" y="190"/>
                    </a:lnTo>
                    <a:lnTo>
                      <a:pt x="199" y="183"/>
                    </a:lnTo>
                    <a:lnTo>
                      <a:pt x="192" y="175"/>
                    </a:lnTo>
                    <a:lnTo>
                      <a:pt x="191" y="160"/>
                    </a:lnTo>
                    <a:lnTo>
                      <a:pt x="202" y="147"/>
                    </a:lnTo>
                    <a:lnTo>
                      <a:pt x="220" y="153"/>
                    </a:lnTo>
                    <a:lnTo>
                      <a:pt x="231" y="140"/>
                    </a:lnTo>
                    <a:lnTo>
                      <a:pt x="251" y="136"/>
                    </a:lnTo>
                    <a:lnTo>
                      <a:pt x="269" y="139"/>
                    </a:lnTo>
                    <a:lnTo>
                      <a:pt x="284" y="131"/>
                    </a:lnTo>
                    <a:lnTo>
                      <a:pt x="300" y="129"/>
                    </a:lnTo>
                    <a:lnTo>
                      <a:pt x="306" y="144"/>
                    </a:lnTo>
                    <a:lnTo>
                      <a:pt x="311" y="154"/>
                    </a:lnTo>
                    <a:lnTo>
                      <a:pt x="325" y="156"/>
                    </a:lnTo>
                    <a:lnTo>
                      <a:pt x="334" y="146"/>
                    </a:lnTo>
                    <a:lnTo>
                      <a:pt x="321" y="125"/>
                    </a:lnTo>
                    <a:lnTo>
                      <a:pt x="328" y="110"/>
                    </a:lnTo>
                    <a:lnTo>
                      <a:pt x="345" y="95"/>
                    </a:lnTo>
                    <a:lnTo>
                      <a:pt x="357" y="71"/>
                    </a:lnTo>
                    <a:lnTo>
                      <a:pt x="365" y="52"/>
                    </a:lnTo>
                    <a:lnTo>
                      <a:pt x="376" y="32"/>
                    </a:lnTo>
                    <a:lnTo>
                      <a:pt x="388" y="14"/>
                    </a:lnTo>
                    <a:lnTo>
                      <a:pt x="403" y="3"/>
                    </a:lnTo>
                    <a:lnTo>
                      <a:pt x="419" y="6"/>
                    </a:lnTo>
                    <a:lnTo>
                      <a:pt x="440" y="2"/>
                    </a:lnTo>
                    <a:lnTo>
                      <a:pt x="458" y="0"/>
                    </a:lnTo>
                    <a:lnTo>
                      <a:pt x="473" y="2"/>
                    </a:lnTo>
                    <a:lnTo>
                      <a:pt x="482" y="11"/>
                    </a:lnTo>
                    <a:lnTo>
                      <a:pt x="476" y="23"/>
                    </a:lnTo>
                    <a:lnTo>
                      <a:pt x="464" y="27"/>
                    </a:lnTo>
                    <a:lnTo>
                      <a:pt x="443" y="23"/>
                    </a:lnTo>
                    <a:lnTo>
                      <a:pt x="428" y="27"/>
                    </a:lnTo>
                    <a:lnTo>
                      <a:pt x="422" y="34"/>
                    </a:lnTo>
                    <a:lnTo>
                      <a:pt x="406" y="36"/>
                    </a:lnTo>
                    <a:lnTo>
                      <a:pt x="394" y="41"/>
                    </a:lnTo>
                    <a:lnTo>
                      <a:pt x="386" y="53"/>
                    </a:lnTo>
                    <a:lnTo>
                      <a:pt x="376" y="68"/>
                    </a:lnTo>
                    <a:lnTo>
                      <a:pt x="372" y="82"/>
                    </a:lnTo>
                    <a:lnTo>
                      <a:pt x="375" y="90"/>
                    </a:lnTo>
                    <a:lnTo>
                      <a:pt x="386" y="88"/>
                    </a:lnTo>
                    <a:lnTo>
                      <a:pt x="392" y="72"/>
                    </a:lnTo>
                    <a:lnTo>
                      <a:pt x="403" y="56"/>
                    </a:lnTo>
                    <a:lnTo>
                      <a:pt x="414" y="49"/>
                    </a:lnTo>
                    <a:lnTo>
                      <a:pt x="426" y="53"/>
                    </a:lnTo>
                    <a:lnTo>
                      <a:pt x="436" y="42"/>
                    </a:lnTo>
                    <a:lnTo>
                      <a:pt x="448" y="36"/>
                    </a:lnTo>
                    <a:lnTo>
                      <a:pt x="458" y="41"/>
                    </a:lnTo>
                    <a:lnTo>
                      <a:pt x="465" y="52"/>
                    </a:lnTo>
                    <a:lnTo>
                      <a:pt x="476" y="47"/>
                    </a:lnTo>
                    <a:lnTo>
                      <a:pt x="489" y="36"/>
                    </a:lnTo>
                    <a:lnTo>
                      <a:pt x="504" y="38"/>
                    </a:lnTo>
                    <a:lnTo>
                      <a:pt x="507" y="47"/>
                    </a:lnTo>
                    <a:lnTo>
                      <a:pt x="511" y="63"/>
                    </a:lnTo>
                    <a:lnTo>
                      <a:pt x="519" y="77"/>
                    </a:lnTo>
                    <a:lnTo>
                      <a:pt x="538" y="82"/>
                    </a:lnTo>
                    <a:lnTo>
                      <a:pt x="559" y="92"/>
                    </a:lnTo>
                    <a:lnTo>
                      <a:pt x="574" y="103"/>
                    </a:lnTo>
                    <a:lnTo>
                      <a:pt x="586" y="118"/>
                    </a:lnTo>
                    <a:lnTo>
                      <a:pt x="591" y="136"/>
                    </a:lnTo>
                    <a:lnTo>
                      <a:pt x="604" y="139"/>
                    </a:lnTo>
                    <a:lnTo>
                      <a:pt x="612" y="129"/>
                    </a:lnTo>
                    <a:lnTo>
                      <a:pt x="615" y="115"/>
                    </a:lnTo>
                    <a:lnTo>
                      <a:pt x="623" y="108"/>
                    </a:lnTo>
                    <a:lnTo>
                      <a:pt x="631" y="117"/>
                    </a:lnTo>
                    <a:lnTo>
                      <a:pt x="645" y="108"/>
                    </a:lnTo>
                    <a:lnTo>
                      <a:pt x="660" y="113"/>
                    </a:lnTo>
                    <a:lnTo>
                      <a:pt x="669" y="125"/>
                    </a:lnTo>
                    <a:lnTo>
                      <a:pt x="669" y="143"/>
                    </a:lnTo>
                    <a:lnTo>
                      <a:pt x="666" y="162"/>
                    </a:lnTo>
                    <a:lnTo>
                      <a:pt x="670" y="176"/>
                    </a:lnTo>
                    <a:lnTo>
                      <a:pt x="684" y="185"/>
                    </a:lnTo>
                    <a:lnTo>
                      <a:pt x="696" y="201"/>
                    </a:lnTo>
                    <a:lnTo>
                      <a:pt x="691" y="219"/>
                    </a:lnTo>
                    <a:lnTo>
                      <a:pt x="695" y="235"/>
                    </a:lnTo>
                    <a:lnTo>
                      <a:pt x="703" y="243"/>
                    </a:lnTo>
                    <a:lnTo>
                      <a:pt x="720" y="253"/>
                    </a:lnTo>
                    <a:lnTo>
                      <a:pt x="739" y="261"/>
                    </a:lnTo>
                    <a:lnTo>
                      <a:pt x="753" y="266"/>
                    </a:lnTo>
                    <a:lnTo>
                      <a:pt x="764" y="258"/>
                    </a:lnTo>
                    <a:lnTo>
                      <a:pt x="777" y="257"/>
                    </a:lnTo>
                    <a:lnTo>
                      <a:pt x="789" y="262"/>
                    </a:lnTo>
                    <a:lnTo>
                      <a:pt x="793" y="273"/>
                    </a:lnTo>
                    <a:lnTo>
                      <a:pt x="796" y="293"/>
                    </a:lnTo>
                    <a:lnTo>
                      <a:pt x="797" y="320"/>
                    </a:lnTo>
                    <a:lnTo>
                      <a:pt x="804" y="343"/>
                    </a:lnTo>
                    <a:lnTo>
                      <a:pt x="811" y="365"/>
                    </a:lnTo>
                    <a:lnTo>
                      <a:pt x="824" y="383"/>
                    </a:lnTo>
                    <a:lnTo>
                      <a:pt x="837" y="402"/>
                    </a:lnTo>
                    <a:lnTo>
                      <a:pt x="843" y="419"/>
                    </a:lnTo>
                    <a:lnTo>
                      <a:pt x="833" y="428"/>
                    </a:lnTo>
                    <a:lnTo>
                      <a:pt x="813" y="434"/>
                    </a:lnTo>
                    <a:lnTo>
                      <a:pt x="803" y="451"/>
                    </a:lnTo>
                    <a:lnTo>
                      <a:pt x="792" y="466"/>
                    </a:lnTo>
                    <a:lnTo>
                      <a:pt x="775" y="463"/>
                    </a:lnTo>
                    <a:lnTo>
                      <a:pt x="761" y="459"/>
                    </a:lnTo>
                    <a:lnTo>
                      <a:pt x="757" y="445"/>
                    </a:lnTo>
                    <a:lnTo>
                      <a:pt x="742" y="440"/>
                    </a:lnTo>
                    <a:lnTo>
                      <a:pt x="735" y="424"/>
                    </a:lnTo>
                    <a:lnTo>
                      <a:pt x="721" y="415"/>
                    </a:lnTo>
                    <a:lnTo>
                      <a:pt x="706" y="398"/>
                    </a:lnTo>
                    <a:lnTo>
                      <a:pt x="688" y="391"/>
                    </a:lnTo>
                    <a:lnTo>
                      <a:pt x="673" y="399"/>
                    </a:lnTo>
                    <a:lnTo>
                      <a:pt x="662" y="419"/>
                    </a:lnTo>
                    <a:lnTo>
                      <a:pt x="653" y="440"/>
                    </a:lnTo>
                    <a:lnTo>
                      <a:pt x="635" y="444"/>
                    </a:lnTo>
                    <a:lnTo>
                      <a:pt x="623" y="455"/>
                    </a:lnTo>
                    <a:lnTo>
                      <a:pt x="610" y="459"/>
                    </a:lnTo>
                    <a:lnTo>
                      <a:pt x="599" y="460"/>
                    </a:lnTo>
                    <a:lnTo>
                      <a:pt x="590" y="471"/>
                    </a:lnTo>
                    <a:lnTo>
                      <a:pt x="586" y="485"/>
                    </a:lnTo>
                    <a:lnTo>
                      <a:pt x="568" y="489"/>
                    </a:lnTo>
                    <a:lnTo>
                      <a:pt x="547" y="491"/>
                    </a:lnTo>
                    <a:lnTo>
                      <a:pt x="530" y="498"/>
                    </a:lnTo>
                    <a:lnTo>
                      <a:pt x="516" y="503"/>
                    </a:lnTo>
                    <a:lnTo>
                      <a:pt x="501" y="494"/>
                    </a:lnTo>
                    <a:lnTo>
                      <a:pt x="487" y="488"/>
                    </a:lnTo>
                    <a:lnTo>
                      <a:pt x="473" y="488"/>
                    </a:lnTo>
                    <a:lnTo>
                      <a:pt x="464" y="480"/>
                    </a:lnTo>
                    <a:lnTo>
                      <a:pt x="453" y="476"/>
                    </a:lnTo>
                    <a:lnTo>
                      <a:pt x="443" y="481"/>
                    </a:lnTo>
                    <a:lnTo>
                      <a:pt x="430" y="488"/>
                    </a:lnTo>
                    <a:lnTo>
                      <a:pt x="415" y="482"/>
                    </a:lnTo>
                    <a:lnTo>
                      <a:pt x="404" y="467"/>
                    </a:lnTo>
                    <a:lnTo>
                      <a:pt x="390" y="452"/>
                    </a:lnTo>
                    <a:lnTo>
                      <a:pt x="375" y="451"/>
                    </a:lnTo>
                    <a:lnTo>
                      <a:pt x="357" y="452"/>
                    </a:lnTo>
                    <a:lnTo>
                      <a:pt x="342" y="445"/>
                    </a:lnTo>
                    <a:lnTo>
                      <a:pt x="329" y="435"/>
                    </a:lnTo>
                    <a:lnTo>
                      <a:pt x="314" y="437"/>
                    </a:lnTo>
                    <a:lnTo>
                      <a:pt x="307" y="452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51" name="Freeform 9"/>
              <p:cNvSpPr>
                <a:spLocks/>
              </p:cNvSpPr>
              <p:nvPr/>
            </p:nvSpPr>
            <p:spPr bwMode="gray">
              <a:xfrm>
                <a:off x="3540" y="868"/>
                <a:ext cx="148" cy="159"/>
              </a:xfrm>
              <a:custGeom>
                <a:avLst/>
                <a:gdLst>
                  <a:gd name="T0" fmla="*/ 34 w 148"/>
                  <a:gd name="T1" fmla="*/ 0 h 159"/>
                  <a:gd name="T2" fmla="*/ 58 w 148"/>
                  <a:gd name="T3" fmla="*/ 0 h 159"/>
                  <a:gd name="T4" fmla="*/ 67 w 148"/>
                  <a:gd name="T5" fmla="*/ 15 h 159"/>
                  <a:gd name="T6" fmla="*/ 88 w 148"/>
                  <a:gd name="T7" fmla="*/ 25 h 159"/>
                  <a:gd name="T8" fmla="*/ 112 w 148"/>
                  <a:gd name="T9" fmla="*/ 34 h 159"/>
                  <a:gd name="T10" fmla="*/ 121 w 148"/>
                  <a:gd name="T11" fmla="*/ 49 h 159"/>
                  <a:gd name="T12" fmla="*/ 115 w 148"/>
                  <a:gd name="T13" fmla="*/ 62 h 159"/>
                  <a:gd name="T14" fmla="*/ 115 w 148"/>
                  <a:gd name="T15" fmla="*/ 83 h 159"/>
                  <a:gd name="T16" fmla="*/ 135 w 148"/>
                  <a:gd name="T17" fmla="*/ 95 h 159"/>
                  <a:gd name="T18" fmla="*/ 147 w 148"/>
                  <a:gd name="T19" fmla="*/ 110 h 159"/>
                  <a:gd name="T20" fmla="*/ 141 w 148"/>
                  <a:gd name="T21" fmla="*/ 134 h 159"/>
                  <a:gd name="T22" fmla="*/ 128 w 148"/>
                  <a:gd name="T23" fmla="*/ 144 h 159"/>
                  <a:gd name="T24" fmla="*/ 118 w 148"/>
                  <a:gd name="T25" fmla="*/ 131 h 159"/>
                  <a:gd name="T26" fmla="*/ 125 w 148"/>
                  <a:gd name="T27" fmla="*/ 116 h 159"/>
                  <a:gd name="T28" fmla="*/ 119 w 148"/>
                  <a:gd name="T29" fmla="*/ 103 h 159"/>
                  <a:gd name="T30" fmla="*/ 104 w 148"/>
                  <a:gd name="T31" fmla="*/ 110 h 159"/>
                  <a:gd name="T32" fmla="*/ 89 w 148"/>
                  <a:gd name="T33" fmla="*/ 112 h 159"/>
                  <a:gd name="T34" fmla="*/ 85 w 148"/>
                  <a:gd name="T35" fmla="*/ 126 h 159"/>
                  <a:gd name="T36" fmla="*/ 74 w 148"/>
                  <a:gd name="T37" fmla="*/ 128 h 159"/>
                  <a:gd name="T38" fmla="*/ 61 w 148"/>
                  <a:gd name="T39" fmla="*/ 131 h 159"/>
                  <a:gd name="T40" fmla="*/ 61 w 148"/>
                  <a:gd name="T41" fmla="*/ 144 h 159"/>
                  <a:gd name="T42" fmla="*/ 61 w 148"/>
                  <a:gd name="T43" fmla="*/ 156 h 159"/>
                  <a:gd name="T44" fmla="*/ 40 w 148"/>
                  <a:gd name="T45" fmla="*/ 158 h 159"/>
                  <a:gd name="T46" fmla="*/ 20 w 148"/>
                  <a:gd name="T47" fmla="*/ 151 h 159"/>
                  <a:gd name="T48" fmla="*/ 4 w 148"/>
                  <a:gd name="T49" fmla="*/ 137 h 159"/>
                  <a:gd name="T50" fmla="*/ 0 w 148"/>
                  <a:gd name="T51" fmla="*/ 123 h 159"/>
                  <a:gd name="T52" fmla="*/ 16 w 148"/>
                  <a:gd name="T53" fmla="*/ 115 h 159"/>
                  <a:gd name="T54" fmla="*/ 32 w 148"/>
                  <a:gd name="T55" fmla="*/ 113 h 159"/>
                  <a:gd name="T56" fmla="*/ 28 w 148"/>
                  <a:gd name="T57" fmla="*/ 103 h 159"/>
                  <a:gd name="T58" fmla="*/ 13 w 148"/>
                  <a:gd name="T59" fmla="*/ 99 h 159"/>
                  <a:gd name="T60" fmla="*/ 11 w 148"/>
                  <a:gd name="T61" fmla="*/ 88 h 159"/>
                  <a:gd name="T62" fmla="*/ 22 w 148"/>
                  <a:gd name="T63" fmla="*/ 77 h 159"/>
                  <a:gd name="T64" fmla="*/ 13 w 148"/>
                  <a:gd name="T65" fmla="*/ 62 h 159"/>
                  <a:gd name="T66" fmla="*/ 22 w 148"/>
                  <a:gd name="T67" fmla="*/ 51 h 159"/>
                  <a:gd name="T68" fmla="*/ 32 w 148"/>
                  <a:gd name="T69" fmla="*/ 61 h 159"/>
                  <a:gd name="T70" fmla="*/ 40 w 148"/>
                  <a:gd name="T71" fmla="*/ 59 h 159"/>
                  <a:gd name="T72" fmla="*/ 58 w 148"/>
                  <a:gd name="T73" fmla="*/ 61 h 159"/>
                  <a:gd name="T74" fmla="*/ 74 w 148"/>
                  <a:gd name="T75" fmla="*/ 81 h 159"/>
                  <a:gd name="T76" fmla="*/ 88 w 148"/>
                  <a:gd name="T77" fmla="*/ 84 h 159"/>
                  <a:gd name="T78" fmla="*/ 92 w 148"/>
                  <a:gd name="T79" fmla="*/ 62 h 159"/>
                  <a:gd name="T80" fmla="*/ 78 w 148"/>
                  <a:gd name="T81" fmla="*/ 45 h 159"/>
                  <a:gd name="T82" fmla="*/ 54 w 148"/>
                  <a:gd name="T83" fmla="*/ 34 h 159"/>
                  <a:gd name="T84" fmla="*/ 27 w 148"/>
                  <a:gd name="T85" fmla="*/ 23 h 159"/>
                  <a:gd name="T86" fmla="*/ 9 w 148"/>
                  <a:gd name="T87" fmla="*/ 36 h 159"/>
                  <a:gd name="T88" fmla="*/ 13 w 148"/>
                  <a:gd name="T89" fmla="*/ 15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8" h="159">
                    <a:moveTo>
                      <a:pt x="24" y="7"/>
                    </a:moveTo>
                    <a:lnTo>
                      <a:pt x="34" y="0"/>
                    </a:lnTo>
                    <a:lnTo>
                      <a:pt x="46" y="4"/>
                    </a:lnTo>
                    <a:lnTo>
                      <a:pt x="58" y="0"/>
                    </a:lnTo>
                    <a:lnTo>
                      <a:pt x="71" y="4"/>
                    </a:lnTo>
                    <a:lnTo>
                      <a:pt x="67" y="15"/>
                    </a:lnTo>
                    <a:lnTo>
                      <a:pt x="74" y="23"/>
                    </a:lnTo>
                    <a:lnTo>
                      <a:pt x="88" y="25"/>
                    </a:lnTo>
                    <a:lnTo>
                      <a:pt x="100" y="27"/>
                    </a:lnTo>
                    <a:lnTo>
                      <a:pt x="112" y="34"/>
                    </a:lnTo>
                    <a:lnTo>
                      <a:pt x="119" y="40"/>
                    </a:lnTo>
                    <a:lnTo>
                      <a:pt x="121" y="49"/>
                    </a:lnTo>
                    <a:lnTo>
                      <a:pt x="118" y="55"/>
                    </a:lnTo>
                    <a:lnTo>
                      <a:pt x="115" y="62"/>
                    </a:lnTo>
                    <a:lnTo>
                      <a:pt x="111" y="73"/>
                    </a:lnTo>
                    <a:lnTo>
                      <a:pt x="115" y="83"/>
                    </a:lnTo>
                    <a:lnTo>
                      <a:pt x="125" y="91"/>
                    </a:lnTo>
                    <a:lnTo>
                      <a:pt x="135" y="95"/>
                    </a:lnTo>
                    <a:lnTo>
                      <a:pt x="143" y="103"/>
                    </a:lnTo>
                    <a:lnTo>
                      <a:pt x="147" y="110"/>
                    </a:lnTo>
                    <a:lnTo>
                      <a:pt x="146" y="121"/>
                    </a:lnTo>
                    <a:lnTo>
                      <a:pt x="141" y="134"/>
                    </a:lnTo>
                    <a:lnTo>
                      <a:pt x="135" y="141"/>
                    </a:lnTo>
                    <a:lnTo>
                      <a:pt x="128" y="144"/>
                    </a:lnTo>
                    <a:lnTo>
                      <a:pt x="121" y="138"/>
                    </a:lnTo>
                    <a:lnTo>
                      <a:pt x="118" y="131"/>
                    </a:lnTo>
                    <a:lnTo>
                      <a:pt x="121" y="123"/>
                    </a:lnTo>
                    <a:lnTo>
                      <a:pt x="125" y="116"/>
                    </a:lnTo>
                    <a:lnTo>
                      <a:pt x="126" y="108"/>
                    </a:lnTo>
                    <a:lnTo>
                      <a:pt x="119" y="103"/>
                    </a:lnTo>
                    <a:lnTo>
                      <a:pt x="111" y="105"/>
                    </a:lnTo>
                    <a:lnTo>
                      <a:pt x="104" y="110"/>
                    </a:lnTo>
                    <a:lnTo>
                      <a:pt x="94" y="110"/>
                    </a:lnTo>
                    <a:lnTo>
                      <a:pt x="89" y="112"/>
                    </a:lnTo>
                    <a:lnTo>
                      <a:pt x="86" y="119"/>
                    </a:lnTo>
                    <a:lnTo>
                      <a:pt x="85" y="126"/>
                    </a:lnTo>
                    <a:lnTo>
                      <a:pt x="81" y="128"/>
                    </a:lnTo>
                    <a:lnTo>
                      <a:pt x="74" y="128"/>
                    </a:lnTo>
                    <a:lnTo>
                      <a:pt x="65" y="128"/>
                    </a:lnTo>
                    <a:lnTo>
                      <a:pt x="61" y="131"/>
                    </a:lnTo>
                    <a:lnTo>
                      <a:pt x="57" y="138"/>
                    </a:lnTo>
                    <a:lnTo>
                      <a:pt x="61" y="144"/>
                    </a:lnTo>
                    <a:lnTo>
                      <a:pt x="63" y="149"/>
                    </a:lnTo>
                    <a:lnTo>
                      <a:pt x="61" y="156"/>
                    </a:lnTo>
                    <a:lnTo>
                      <a:pt x="52" y="158"/>
                    </a:lnTo>
                    <a:lnTo>
                      <a:pt x="40" y="158"/>
                    </a:lnTo>
                    <a:lnTo>
                      <a:pt x="31" y="151"/>
                    </a:lnTo>
                    <a:lnTo>
                      <a:pt x="20" y="151"/>
                    </a:lnTo>
                    <a:lnTo>
                      <a:pt x="13" y="144"/>
                    </a:lnTo>
                    <a:lnTo>
                      <a:pt x="4" y="137"/>
                    </a:lnTo>
                    <a:lnTo>
                      <a:pt x="0" y="131"/>
                    </a:lnTo>
                    <a:lnTo>
                      <a:pt x="0" y="123"/>
                    </a:lnTo>
                    <a:lnTo>
                      <a:pt x="4" y="119"/>
                    </a:lnTo>
                    <a:lnTo>
                      <a:pt x="16" y="115"/>
                    </a:lnTo>
                    <a:lnTo>
                      <a:pt x="25" y="116"/>
                    </a:lnTo>
                    <a:lnTo>
                      <a:pt x="32" y="113"/>
                    </a:lnTo>
                    <a:lnTo>
                      <a:pt x="32" y="108"/>
                    </a:lnTo>
                    <a:lnTo>
                      <a:pt x="28" y="103"/>
                    </a:lnTo>
                    <a:lnTo>
                      <a:pt x="22" y="101"/>
                    </a:lnTo>
                    <a:lnTo>
                      <a:pt x="13" y="99"/>
                    </a:lnTo>
                    <a:lnTo>
                      <a:pt x="9" y="95"/>
                    </a:lnTo>
                    <a:lnTo>
                      <a:pt x="11" y="88"/>
                    </a:lnTo>
                    <a:lnTo>
                      <a:pt x="20" y="83"/>
                    </a:lnTo>
                    <a:lnTo>
                      <a:pt x="22" y="77"/>
                    </a:lnTo>
                    <a:lnTo>
                      <a:pt x="16" y="70"/>
                    </a:lnTo>
                    <a:lnTo>
                      <a:pt x="13" y="62"/>
                    </a:lnTo>
                    <a:lnTo>
                      <a:pt x="16" y="54"/>
                    </a:lnTo>
                    <a:lnTo>
                      <a:pt x="22" y="51"/>
                    </a:lnTo>
                    <a:lnTo>
                      <a:pt x="28" y="54"/>
                    </a:lnTo>
                    <a:lnTo>
                      <a:pt x="32" y="61"/>
                    </a:lnTo>
                    <a:lnTo>
                      <a:pt x="34" y="66"/>
                    </a:lnTo>
                    <a:lnTo>
                      <a:pt x="40" y="59"/>
                    </a:lnTo>
                    <a:lnTo>
                      <a:pt x="49" y="58"/>
                    </a:lnTo>
                    <a:lnTo>
                      <a:pt x="58" y="61"/>
                    </a:lnTo>
                    <a:lnTo>
                      <a:pt x="67" y="70"/>
                    </a:lnTo>
                    <a:lnTo>
                      <a:pt x="74" y="81"/>
                    </a:lnTo>
                    <a:lnTo>
                      <a:pt x="82" y="88"/>
                    </a:lnTo>
                    <a:lnTo>
                      <a:pt x="88" y="84"/>
                    </a:lnTo>
                    <a:lnTo>
                      <a:pt x="92" y="74"/>
                    </a:lnTo>
                    <a:lnTo>
                      <a:pt x="92" y="62"/>
                    </a:lnTo>
                    <a:lnTo>
                      <a:pt x="86" y="49"/>
                    </a:lnTo>
                    <a:lnTo>
                      <a:pt x="78" y="45"/>
                    </a:lnTo>
                    <a:lnTo>
                      <a:pt x="63" y="38"/>
                    </a:lnTo>
                    <a:lnTo>
                      <a:pt x="54" y="34"/>
                    </a:lnTo>
                    <a:lnTo>
                      <a:pt x="35" y="29"/>
                    </a:lnTo>
                    <a:lnTo>
                      <a:pt x="27" y="23"/>
                    </a:lnTo>
                    <a:lnTo>
                      <a:pt x="18" y="37"/>
                    </a:lnTo>
                    <a:lnTo>
                      <a:pt x="9" y="36"/>
                    </a:lnTo>
                    <a:lnTo>
                      <a:pt x="7" y="25"/>
                    </a:lnTo>
                    <a:lnTo>
                      <a:pt x="13" y="15"/>
                    </a:lnTo>
                    <a:lnTo>
                      <a:pt x="24" y="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52" name="Freeform 10"/>
              <p:cNvSpPr>
                <a:spLocks/>
              </p:cNvSpPr>
              <p:nvPr/>
            </p:nvSpPr>
            <p:spPr bwMode="gray">
              <a:xfrm>
                <a:off x="3683" y="1037"/>
                <a:ext cx="145" cy="150"/>
              </a:xfrm>
              <a:custGeom>
                <a:avLst/>
                <a:gdLst>
                  <a:gd name="T0" fmla="*/ 98 w 145"/>
                  <a:gd name="T1" fmla="*/ 81 h 150"/>
                  <a:gd name="T2" fmla="*/ 111 w 145"/>
                  <a:gd name="T3" fmla="*/ 91 h 150"/>
                  <a:gd name="T4" fmla="*/ 116 w 145"/>
                  <a:gd name="T5" fmla="*/ 105 h 150"/>
                  <a:gd name="T6" fmla="*/ 119 w 145"/>
                  <a:gd name="T7" fmla="*/ 117 h 150"/>
                  <a:gd name="T8" fmla="*/ 123 w 145"/>
                  <a:gd name="T9" fmla="*/ 126 h 150"/>
                  <a:gd name="T10" fmla="*/ 131 w 145"/>
                  <a:gd name="T11" fmla="*/ 127 h 150"/>
                  <a:gd name="T12" fmla="*/ 142 w 145"/>
                  <a:gd name="T13" fmla="*/ 134 h 150"/>
                  <a:gd name="T14" fmla="*/ 144 w 145"/>
                  <a:gd name="T15" fmla="*/ 141 h 150"/>
                  <a:gd name="T16" fmla="*/ 138 w 145"/>
                  <a:gd name="T17" fmla="*/ 148 h 150"/>
                  <a:gd name="T18" fmla="*/ 126 w 145"/>
                  <a:gd name="T19" fmla="*/ 149 h 150"/>
                  <a:gd name="T20" fmla="*/ 112 w 145"/>
                  <a:gd name="T21" fmla="*/ 146 h 150"/>
                  <a:gd name="T22" fmla="*/ 104 w 145"/>
                  <a:gd name="T23" fmla="*/ 134 h 150"/>
                  <a:gd name="T24" fmla="*/ 98 w 145"/>
                  <a:gd name="T25" fmla="*/ 126 h 150"/>
                  <a:gd name="T26" fmla="*/ 88 w 145"/>
                  <a:gd name="T27" fmla="*/ 120 h 150"/>
                  <a:gd name="T28" fmla="*/ 75 w 145"/>
                  <a:gd name="T29" fmla="*/ 126 h 150"/>
                  <a:gd name="T30" fmla="*/ 61 w 145"/>
                  <a:gd name="T31" fmla="*/ 130 h 150"/>
                  <a:gd name="T32" fmla="*/ 52 w 145"/>
                  <a:gd name="T33" fmla="*/ 130 h 150"/>
                  <a:gd name="T34" fmla="*/ 43 w 145"/>
                  <a:gd name="T35" fmla="*/ 137 h 150"/>
                  <a:gd name="T36" fmla="*/ 34 w 145"/>
                  <a:gd name="T37" fmla="*/ 140 h 150"/>
                  <a:gd name="T38" fmla="*/ 29 w 145"/>
                  <a:gd name="T39" fmla="*/ 133 h 150"/>
                  <a:gd name="T40" fmla="*/ 33 w 145"/>
                  <a:gd name="T41" fmla="*/ 120 h 150"/>
                  <a:gd name="T42" fmla="*/ 39 w 145"/>
                  <a:gd name="T43" fmla="*/ 112 h 150"/>
                  <a:gd name="T44" fmla="*/ 37 w 145"/>
                  <a:gd name="T45" fmla="*/ 102 h 150"/>
                  <a:gd name="T46" fmla="*/ 33 w 145"/>
                  <a:gd name="T47" fmla="*/ 98 h 150"/>
                  <a:gd name="T48" fmla="*/ 34 w 145"/>
                  <a:gd name="T49" fmla="*/ 90 h 150"/>
                  <a:gd name="T50" fmla="*/ 43 w 145"/>
                  <a:gd name="T51" fmla="*/ 87 h 150"/>
                  <a:gd name="T52" fmla="*/ 51 w 145"/>
                  <a:gd name="T53" fmla="*/ 91 h 150"/>
                  <a:gd name="T54" fmla="*/ 58 w 145"/>
                  <a:gd name="T55" fmla="*/ 91 h 150"/>
                  <a:gd name="T56" fmla="*/ 61 w 145"/>
                  <a:gd name="T57" fmla="*/ 87 h 150"/>
                  <a:gd name="T58" fmla="*/ 58 w 145"/>
                  <a:gd name="T59" fmla="*/ 79 h 150"/>
                  <a:gd name="T60" fmla="*/ 52 w 145"/>
                  <a:gd name="T61" fmla="*/ 69 h 150"/>
                  <a:gd name="T62" fmla="*/ 47 w 145"/>
                  <a:gd name="T63" fmla="*/ 61 h 150"/>
                  <a:gd name="T64" fmla="*/ 37 w 145"/>
                  <a:gd name="T65" fmla="*/ 61 h 150"/>
                  <a:gd name="T66" fmla="*/ 33 w 145"/>
                  <a:gd name="T67" fmla="*/ 67 h 150"/>
                  <a:gd name="T68" fmla="*/ 28 w 145"/>
                  <a:gd name="T69" fmla="*/ 74 h 150"/>
                  <a:gd name="T70" fmla="*/ 18 w 145"/>
                  <a:gd name="T71" fmla="*/ 69 h 150"/>
                  <a:gd name="T72" fmla="*/ 7 w 145"/>
                  <a:gd name="T73" fmla="*/ 67 h 150"/>
                  <a:gd name="T74" fmla="*/ 3 w 145"/>
                  <a:gd name="T75" fmla="*/ 61 h 150"/>
                  <a:gd name="T76" fmla="*/ 5 w 145"/>
                  <a:gd name="T77" fmla="*/ 51 h 150"/>
                  <a:gd name="T78" fmla="*/ 7 w 145"/>
                  <a:gd name="T79" fmla="*/ 41 h 150"/>
                  <a:gd name="T80" fmla="*/ 5 w 145"/>
                  <a:gd name="T81" fmla="*/ 29 h 150"/>
                  <a:gd name="T82" fmla="*/ 0 w 145"/>
                  <a:gd name="T83" fmla="*/ 22 h 150"/>
                  <a:gd name="T84" fmla="*/ 3 w 145"/>
                  <a:gd name="T85" fmla="*/ 12 h 150"/>
                  <a:gd name="T86" fmla="*/ 7 w 145"/>
                  <a:gd name="T87" fmla="*/ 5 h 150"/>
                  <a:gd name="T88" fmla="*/ 14 w 145"/>
                  <a:gd name="T89" fmla="*/ 0 h 150"/>
                  <a:gd name="T90" fmla="*/ 26 w 145"/>
                  <a:gd name="T91" fmla="*/ 2 h 150"/>
                  <a:gd name="T92" fmla="*/ 30 w 145"/>
                  <a:gd name="T93" fmla="*/ 11 h 150"/>
                  <a:gd name="T94" fmla="*/ 29 w 145"/>
                  <a:gd name="T95" fmla="*/ 23 h 150"/>
                  <a:gd name="T96" fmla="*/ 34 w 145"/>
                  <a:gd name="T97" fmla="*/ 30 h 150"/>
                  <a:gd name="T98" fmla="*/ 41 w 145"/>
                  <a:gd name="T99" fmla="*/ 36 h 150"/>
                  <a:gd name="T100" fmla="*/ 54 w 145"/>
                  <a:gd name="T101" fmla="*/ 38 h 150"/>
                  <a:gd name="T102" fmla="*/ 66 w 145"/>
                  <a:gd name="T103" fmla="*/ 45 h 150"/>
                  <a:gd name="T104" fmla="*/ 77 w 145"/>
                  <a:gd name="T105" fmla="*/ 54 h 150"/>
                  <a:gd name="T106" fmla="*/ 98 w 145"/>
                  <a:gd name="T107" fmla="*/ 81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5" h="150">
                    <a:moveTo>
                      <a:pt x="98" y="81"/>
                    </a:moveTo>
                    <a:lnTo>
                      <a:pt x="111" y="91"/>
                    </a:lnTo>
                    <a:lnTo>
                      <a:pt x="116" y="105"/>
                    </a:lnTo>
                    <a:lnTo>
                      <a:pt x="119" y="117"/>
                    </a:lnTo>
                    <a:lnTo>
                      <a:pt x="123" y="126"/>
                    </a:lnTo>
                    <a:lnTo>
                      <a:pt x="131" y="127"/>
                    </a:lnTo>
                    <a:lnTo>
                      <a:pt x="142" y="134"/>
                    </a:lnTo>
                    <a:lnTo>
                      <a:pt x="144" y="141"/>
                    </a:lnTo>
                    <a:lnTo>
                      <a:pt x="138" y="148"/>
                    </a:lnTo>
                    <a:lnTo>
                      <a:pt x="126" y="149"/>
                    </a:lnTo>
                    <a:lnTo>
                      <a:pt x="112" y="146"/>
                    </a:lnTo>
                    <a:lnTo>
                      <a:pt x="104" y="134"/>
                    </a:lnTo>
                    <a:lnTo>
                      <a:pt x="98" y="126"/>
                    </a:lnTo>
                    <a:lnTo>
                      <a:pt x="88" y="120"/>
                    </a:lnTo>
                    <a:lnTo>
                      <a:pt x="75" y="126"/>
                    </a:lnTo>
                    <a:lnTo>
                      <a:pt x="61" y="130"/>
                    </a:lnTo>
                    <a:lnTo>
                      <a:pt x="52" y="130"/>
                    </a:lnTo>
                    <a:lnTo>
                      <a:pt x="43" y="137"/>
                    </a:lnTo>
                    <a:lnTo>
                      <a:pt x="34" y="140"/>
                    </a:lnTo>
                    <a:lnTo>
                      <a:pt x="29" y="133"/>
                    </a:lnTo>
                    <a:lnTo>
                      <a:pt x="33" y="120"/>
                    </a:lnTo>
                    <a:lnTo>
                      <a:pt x="39" y="112"/>
                    </a:lnTo>
                    <a:lnTo>
                      <a:pt x="37" y="102"/>
                    </a:lnTo>
                    <a:lnTo>
                      <a:pt x="33" y="98"/>
                    </a:lnTo>
                    <a:lnTo>
                      <a:pt x="34" y="90"/>
                    </a:lnTo>
                    <a:lnTo>
                      <a:pt x="43" y="87"/>
                    </a:lnTo>
                    <a:lnTo>
                      <a:pt x="51" y="91"/>
                    </a:lnTo>
                    <a:lnTo>
                      <a:pt x="58" y="91"/>
                    </a:lnTo>
                    <a:lnTo>
                      <a:pt x="61" y="87"/>
                    </a:lnTo>
                    <a:lnTo>
                      <a:pt x="58" y="79"/>
                    </a:lnTo>
                    <a:lnTo>
                      <a:pt x="52" y="69"/>
                    </a:lnTo>
                    <a:lnTo>
                      <a:pt x="47" y="61"/>
                    </a:lnTo>
                    <a:lnTo>
                      <a:pt x="37" y="61"/>
                    </a:lnTo>
                    <a:lnTo>
                      <a:pt x="33" y="67"/>
                    </a:lnTo>
                    <a:lnTo>
                      <a:pt x="28" y="74"/>
                    </a:lnTo>
                    <a:lnTo>
                      <a:pt x="18" y="69"/>
                    </a:lnTo>
                    <a:lnTo>
                      <a:pt x="7" y="67"/>
                    </a:lnTo>
                    <a:lnTo>
                      <a:pt x="3" y="61"/>
                    </a:lnTo>
                    <a:lnTo>
                      <a:pt x="5" y="51"/>
                    </a:lnTo>
                    <a:lnTo>
                      <a:pt x="7" y="41"/>
                    </a:lnTo>
                    <a:lnTo>
                      <a:pt x="5" y="29"/>
                    </a:lnTo>
                    <a:lnTo>
                      <a:pt x="0" y="22"/>
                    </a:lnTo>
                    <a:lnTo>
                      <a:pt x="3" y="12"/>
                    </a:lnTo>
                    <a:lnTo>
                      <a:pt x="7" y="5"/>
                    </a:lnTo>
                    <a:lnTo>
                      <a:pt x="14" y="0"/>
                    </a:lnTo>
                    <a:lnTo>
                      <a:pt x="26" y="2"/>
                    </a:lnTo>
                    <a:lnTo>
                      <a:pt x="30" y="11"/>
                    </a:lnTo>
                    <a:lnTo>
                      <a:pt x="29" y="23"/>
                    </a:lnTo>
                    <a:lnTo>
                      <a:pt x="34" y="30"/>
                    </a:lnTo>
                    <a:lnTo>
                      <a:pt x="41" y="36"/>
                    </a:lnTo>
                    <a:lnTo>
                      <a:pt x="54" y="38"/>
                    </a:lnTo>
                    <a:lnTo>
                      <a:pt x="66" y="45"/>
                    </a:lnTo>
                    <a:lnTo>
                      <a:pt x="77" y="54"/>
                    </a:lnTo>
                    <a:lnTo>
                      <a:pt x="98" y="8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35" name="Freeform 11"/>
            <p:cNvSpPr>
              <a:spLocks/>
            </p:cNvSpPr>
            <p:nvPr/>
          </p:nvSpPr>
          <p:spPr bwMode="gray">
            <a:xfrm>
              <a:off x="6151405" y="2772037"/>
              <a:ext cx="865987" cy="1058316"/>
            </a:xfrm>
            <a:custGeom>
              <a:avLst/>
              <a:gdLst>
                <a:gd name="T0" fmla="*/ 263 w 648"/>
                <a:gd name="T1" fmla="*/ 45 h 792"/>
                <a:gd name="T2" fmla="*/ 305 w 648"/>
                <a:gd name="T3" fmla="*/ 71 h 792"/>
                <a:gd name="T4" fmla="*/ 344 w 648"/>
                <a:gd name="T5" fmla="*/ 101 h 792"/>
                <a:gd name="T6" fmla="*/ 363 w 648"/>
                <a:gd name="T7" fmla="*/ 140 h 792"/>
                <a:gd name="T8" fmla="*/ 364 w 648"/>
                <a:gd name="T9" fmla="*/ 197 h 792"/>
                <a:gd name="T10" fmla="*/ 391 w 648"/>
                <a:gd name="T11" fmla="*/ 219 h 792"/>
                <a:gd name="T12" fmla="*/ 407 w 648"/>
                <a:gd name="T13" fmla="*/ 247 h 792"/>
                <a:gd name="T14" fmla="*/ 429 w 648"/>
                <a:gd name="T15" fmla="*/ 288 h 792"/>
                <a:gd name="T16" fmla="*/ 427 w 648"/>
                <a:gd name="T17" fmla="*/ 338 h 792"/>
                <a:gd name="T18" fmla="*/ 452 w 648"/>
                <a:gd name="T19" fmla="*/ 384 h 792"/>
                <a:gd name="T20" fmla="*/ 504 w 648"/>
                <a:gd name="T21" fmla="*/ 391 h 792"/>
                <a:gd name="T22" fmla="*/ 544 w 648"/>
                <a:gd name="T23" fmla="*/ 403 h 792"/>
                <a:gd name="T24" fmla="*/ 589 w 648"/>
                <a:gd name="T25" fmla="*/ 428 h 792"/>
                <a:gd name="T26" fmla="*/ 627 w 648"/>
                <a:gd name="T27" fmla="*/ 459 h 792"/>
                <a:gd name="T28" fmla="*/ 637 w 648"/>
                <a:gd name="T29" fmla="*/ 502 h 792"/>
                <a:gd name="T30" fmla="*/ 636 w 648"/>
                <a:gd name="T31" fmla="*/ 541 h 792"/>
                <a:gd name="T32" fmla="*/ 604 w 648"/>
                <a:gd name="T33" fmla="*/ 579 h 792"/>
                <a:gd name="T34" fmla="*/ 557 w 648"/>
                <a:gd name="T35" fmla="*/ 564 h 792"/>
                <a:gd name="T36" fmla="*/ 511 w 648"/>
                <a:gd name="T37" fmla="*/ 563 h 792"/>
                <a:gd name="T38" fmla="*/ 464 w 648"/>
                <a:gd name="T39" fmla="*/ 585 h 792"/>
                <a:gd name="T40" fmla="*/ 409 w 648"/>
                <a:gd name="T41" fmla="*/ 597 h 792"/>
                <a:gd name="T42" fmla="*/ 371 w 648"/>
                <a:gd name="T43" fmla="*/ 640 h 792"/>
                <a:gd name="T44" fmla="*/ 371 w 648"/>
                <a:gd name="T45" fmla="*/ 678 h 792"/>
                <a:gd name="T46" fmla="*/ 398 w 648"/>
                <a:gd name="T47" fmla="*/ 725 h 792"/>
                <a:gd name="T48" fmla="*/ 402 w 648"/>
                <a:gd name="T49" fmla="*/ 775 h 792"/>
                <a:gd name="T50" fmla="*/ 360 w 648"/>
                <a:gd name="T51" fmla="*/ 783 h 792"/>
                <a:gd name="T52" fmla="*/ 335 w 648"/>
                <a:gd name="T53" fmla="*/ 758 h 792"/>
                <a:gd name="T54" fmla="*/ 281 w 648"/>
                <a:gd name="T55" fmla="*/ 746 h 792"/>
                <a:gd name="T56" fmla="*/ 227 w 648"/>
                <a:gd name="T57" fmla="*/ 732 h 792"/>
                <a:gd name="T58" fmla="*/ 172 w 648"/>
                <a:gd name="T59" fmla="*/ 730 h 792"/>
                <a:gd name="T60" fmla="*/ 148 w 648"/>
                <a:gd name="T61" fmla="*/ 687 h 792"/>
                <a:gd name="T62" fmla="*/ 147 w 648"/>
                <a:gd name="T63" fmla="*/ 633 h 792"/>
                <a:gd name="T64" fmla="*/ 101 w 648"/>
                <a:gd name="T65" fmla="*/ 628 h 792"/>
                <a:gd name="T66" fmla="*/ 89 w 648"/>
                <a:gd name="T67" fmla="*/ 578 h 792"/>
                <a:gd name="T68" fmla="*/ 42 w 648"/>
                <a:gd name="T69" fmla="*/ 534 h 792"/>
                <a:gd name="T70" fmla="*/ 6 w 648"/>
                <a:gd name="T71" fmla="*/ 491 h 792"/>
                <a:gd name="T72" fmla="*/ 9 w 648"/>
                <a:gd name="T73" fmla="*/ 446 h 792"/>
                <a:gd name="T74" fmla="*/ 11 w 648"/>
                <a:gd name="T75" fmla="*/ 401 h 792"/>
                <a:gd name="T76" fmla="*/ 53 w 648"/>
                <a:gd name="T77" fmla="*/ 397 h 792"/>
                <a:gd name="T78" fmla="*/ 72 w 648"/>
                <a:gd name="T79" fmla="*/ 359 h 792"/>
                <a:gd name="T80" fmla="*/ 88 w 648"/>
                <a:gd name="T81" fmla="*/ 306 h 792"/>
                <a:gd name="T82" fmla="*/ 92 w 648"/>
                <a:gd name="T83" fmla="*/ 237 h 792"/>
                <a:gd name="T84" fmla="*/ 100 w 648"/>
                <a:gd name="T85" fmla="*/ 189 h 792"/>
                <a:gd name="T86" fmla="*/ 79 w 648"/>
                <a:gd name="T87" fmla="*/ 129 h 792"/>
                <a:gd name="T88" fmla="*/ 75 w 648"/>
                <a:gd name="T89" fmla="*/ 85 h 792"/>
                <a:gd name="T90" fmla="*/ 119 w 648"/>
                <a:gd name="T91" fmla="*/ 72 h 792"/>
                <a:gd name="T92" fmla="*/ 158 w 648"/>
                <a:gd name="T93" fmla="*/ 57 h 792"/>
                <a:gd name="T94" fmla="*/ 194 w 648"/>
                <a:gd name="T95" fmla="*/ 61 h 792"/>
                <a:gd name="T96" fmla="*/ 211 w 648"/>
                <a:gd name="T97" fmla="*/ 25 h 792"/>
                <a:gd name="T98" fmla="*/ 220 w 648"/>
                <a:gd name="T99" fmla="*/ 3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8" h="792">
                  <a:moveTo>
                    <a:pt x="241" y="29"/>
                  </a:moveTo>
                  <a:lnTo>
                    <a:pt x="248" y="38"/>
                  </a:lnTo>
                  <a:lnTo>
                    <a:pt x="263" y="45"/>
                  </a:lnTo>
                  <a:lnTo>
                    <a:pt x="281" y="50"/>
                  </a:lnTo>
                  <a:lnTo>
                    <a:pt x="295" y="57"/>
                  </a:lnTo>
                  <a:lnTo>
                    <a:pt x="305" y="71"/>
                  </a:lnTo>
                  <a:lnTo>
                    <a:pt x="315" y="83"/>
                  </a:lnTo>
                  <a:lnTo>
                    <a:pt x="328" y="96"/>
                  </a:lnTo>
                  <a:lnTo>
                    <a:pt x="344" y="101"/>
                  </a:lnTo>
                  <a:lnTo>
                    <a:pt x="363" y="106"/>
                  </a:lnTo>
                  <a:lnTo>
                    <a:pt x="367" y="119"/>
                  </a:lnTo>
                  <a:lnTo>
                    <a:pt x="363" y="140"/>
                  </a:lnTo>
                  <a:lnTo>
                    <a:pt x="364" y="160"/>
                  </a:lnTo>
                  <a:lnTo>
                    <a:pt x="367" y="182"/>
                  </a:lnTo>
                  <a:lnTo>
                    <a:pt x="364" y="197"/>
                  </a:lnTo>
                  <a:lnTo>
                    <a:pt x="367" y="214"/>
                  </a:lnTo>
                  <a:lnTo>
                    <a:pt x="375" y="221"/>
                  </a:lnTo>
                  <a:lnTo>
                    <a:pt x="391" y="219"/>
                  </a:lnTo>
                  <a:lnTo>
                    <a:pt x="406" y="221"/>
                  </a:lnTo>
                  <a:lnTo>
                    <a:pt x="411" y="233"/>
                  </a:lnTo>
                  <a:lnTo>
                    <a:pt x="407" y="247"/>
                  </a:lnTo>
                  <a:lnTo>
                    <a:pt x="410" y="262"/>
                  </a:lnTo>
                  <a:lnTo>
                    <a:pt x="418" y="273"/>
                  </a:lnTo>
                  <a:lnTo>
                    <a:pt x="429" y="288"/>
                  </a:lnTo>
                  <a:lnTo>
                    <a:pt x="434" y="301"/>
                  </a:lnTo>
                  <a:lnTo>
                    <a:pt x="428" y="318"/>
                  </a:lnTo>
                  <a:lnTo>
                    <a:pt x="427" y="338"/>
                  </a:lnTo>
                  <a:lnTo>
                    <a:pt x="429" y="355"/>
                  </a:lnTo>
                  <a:lnTo>
                    <a:pt x="438" y="372"/>
                  </a:lnTo>
                  <a:lnTo>
                    <a:pt x="452" y="384"/>
                  </a:lnTo>
                  <a:lnTo>
                    <a:pt x="468" y="392"/>
                  </a:lnTo>
                  <a:lnTo>
                    <a:pt x="489" y="395"/>
                  </a:lnTo>
                  <a:lnTo>
                    <a:pt x="504" y="391"/>
                  </a:lnTo>
                  <a:lnTo>
                    <a:pt x="519" y="385"/>
                  </a:lnTo>
                  <a:lnTo>
                    <a:pt x="535" y="391"/>
                  </a:lnTo>
                  <a:lnTo>
                    <a:pt x="544" y="403"/>
                  </a:lnTo>
                  <a:lnTo>
                    <a:pt x="558" y="413"/>
                  </a:lnTo>
                  <a:lnTo>
                    <a:pt x="575" y="417"/>
                  </a:lnTo>
                  <a:lnTo>
                    <a:pt x="589" y="428"/>
                  </a:lnTo>
                  <a:lnTo>
                    <a:pt x="604" y="434"/>
                  </a:lnTo>
                  <a:lnTo>
                    <a:pt x="619" y="444"/>
                  </a:lnTo>
                  <a:lnTo>
                    <a:pt x="627" y="459"/>
                  </a:lnTo>
                  <a:lnTo>
                    <a:pt x="634" y="475"/>
                  </a:lnTo>
                  <a:lnTo>
                    <a:pt x="632" y="491"/>
                  </a:lnTo>
                  <a:lnTo>
                    <a:pt x="637" y="502"/>
                  </a:lnTo>
                  <a:lnTo>
                    <a:pt x="647" y="516"/>
                  </a:lnTo>
                  <a:lnTo>
                    <a:pt x="645" y="530"/>
                  </a:lnTo>
                  <a:lnTo>
                    <a:pt x="636" y="541"/>
                  </a:lnTo>
                  <a:lnTo>
                    <a:pt x="626" y="559"/>
                  </a:lnTo>
                  <a:lnTo>
                    <a:pt x="614" y="568"/>
                  </a:lnTo>
                  <a:lnTo>
                    <a:pt x="604" y="579"/>
                  </a:lnTo>
                  <a:lnTo>
                    <a:pt x="590" y="578"/>
                  </a:lnTo>
                  <a:lnTo>
                    <a:pt x="573" y="575"/>
                  </a:lnTo>
                  <a:lnTo>
                    <a:pt x="557" y="564"/>
                  </a:lnTo>
                  <a:lnTo>
                    <a:pt x="543" y="560"/>
                  </a:lnTo>
                  <a:lnTo>
                    <a:pt x="529" y="566"/>
                  </a:lnTo>
                  <a:lnTo>
                    <a:pt x="511" y="563"/>
                  </a:lnTo>
                  <a:lnTo>
                    <a:pt x="496" y="568"/>
                  </a:lnTo>
                  <a:lnTo>
                    <a:pt x="485" y="579"/>
                  </a:lnTo>
                  <a:lnTo>
                    <a:pt x="464" y="585"/>
                  </a:lnTo>
                  <a:lnTo>
                    <a:pt x="446" y="581"/>
                  </a:lnTo>
                  <a:lnTo>
                    <a:pt x="425" y="586"/>
                  </a:lnTo>
                  <a:lnTo>
                    <a:pt x="409" y="597"/>
                  </a:lnTo>
                  <a:lnTo>
                    <a:pt x="388" y="604"/>
                  </a:lnTo>
                  <a:lnTo>
                    <a:pt x="374" y="620"/>
                  </a:lnTo>
                  <a:lnTo>
                    <a:pt x="371" y="640"/>
                  </a:lnTo>
                  <a:lnTo>
                    <a:pt x="364" y="654"/>
                  </a:lnTo>
                  <a:lnTo>
                    <a:pt x="363" y="669"/>
                  </a:lnTo>
                  <a:lnTo>
                    <a:pt x="371" y="678"/>
                  </a:lnTo>
                  <a:lnTo>
                    <a:pt x="375" y="693"/>
                  </a:lnTo>
                  <a:lnTo>
                    <a:pt x="386" y="710"/>
                  </a:lnTo>
                  <a:lnTo>
                    <a:pt x="398" y="725"/>
                  </a:lnTo>
                  <a:lnTo>
                    <a:pt x="410" y="741"/>
                  </a:lnTo>
                  <a:lnTo>
                    <a:pt x="403" y="758"/>
                  </a:lnTo>
                  <a:lnTo>
                    <a:pt x="402" y="775"/>
                  </a:lnTo>
                  <a:lnTo>
                    <a:pt x="392" y="789"/>
                  </a:lnTo>
                  <a:lnTo>
                    <a:pt x="373" y="780"/>
                  </a:lnTo>
                  <a:lnTo>
                    <a:pt x="360" y="783"/>
                  </a:lnTo>
                  <a:lnTo>
                    <a:pt x="349" y="791"/>
                  </a:lnTo>
                  <a:lnTo>
                    <a:pt x="342" y="779"/>
                  </a:lnTo>
                  <a:lnTo>
                    <a:pt x="335" y="758"/>
                  </a:lnTo>
                  <a:lnTo>
                    <a:pt x="319" y="747"/>
                  </a:lnTo>
                  <a:lnTo>
                    <a:pt x="303" y="743"/>
                  </a:lnTo>
                  <a:lnTo>
                    <a:pt x="281" y="746"/>
                  </a:lnTo>
                  <a:lnTo>
                    <a:pt x="266" y="748"/>
                  </a:lnTo>
                  <a:lnTo>
                    <a:pt x="249" y="740"/>
                  </a:lnTo>
                  <a:lnTo>
                    <a:pt x="227" y="732"/>
                  </a:lnTo>
                  <a:lnTo>
                    <a:pt x="207" y="726"/>
                  </a:lnTo>
                  <a:lnTo>
                    <a:pt x="191" y="728"/>
                  </a:lnTo>
                  <a:lnTo>
                    <a:pt x="172" y="730"/>
                  </a:lnTo>
                  <a:lnTo>
                    <a:pt x="158" y="721"/>
                  </a:lnTo>
                  <a:lnTo>
                    <a:pt x="151" y="704"/>
                  </a:lnTo>
                  <a:lnTo>
                    <a:pt x="148" y="687"/>
                  </a:lnTo>
                  <a:lnTo>
                    <a:pt x="158" y="669"/>
                  </a:lnTo>
                  <a:lnTo>
                    <a:pt x="155" y="649"/>
                  </a:lnTo>
                  <a:lnTo>
                    <a:pt x="147" y="633"/>
                  </a:lnTo>
                  <a:lnTo>
                    <a:pt x="130" y="628"/>
                  </a:lnTo>
                  <a:lnTo>
                    <a:pt x="115" y="633"/>
                  </a:lnTo>
                  <a:lnTo>
                    <a:pt x="101" y="628"/>
                  </a:lnTo>
                  <a:lnTo>
                    <a:pt x="94" y="614"/>
                  </a:lnTo>
                  <a:lnTo>
                    <a:pt x="92" y="597"/>
                  </a:lnTo>
                  <a:lnTo>
                    <a:pt x="89" y="578"/>
                  </a:lnTo>
                  <a:lnTo>
                    <a:pt x="78" y="559"/>
                  </a:lnTo>
                  <a:lnTo>
                    <a:pt x="61" y="543"/>
                  </a:lnTo>
                  <a:lnTo>
                    <a:pt x="42" y="534"/>
                  </a:lnTo>
                  <a:lnTo>
                    <a:pt x="18" y="538"/>
                  </a:lnTo>
                  <a:lnTo>
                    <a:pt x="11" y="513"/>
                  </a:lnTo>
                  <a:lnTo>
                    <a:pt x="6" y="491"/>
                  </a:lnTo>
                  <a:lnTo>
                    <a:pt x="0" y="474"/>
                  </a:lnTo>
                  <a:lnTo>
                    <a:pt x="3" y="459"/>
                  </a:lnTo>
                  <a:lnTo>
                    <a:pt x="9" y="446"/>
                  </a:lnTo>
                  <a:lnTo>
                    <a:pt x="10" y="427"/>
                  </a:lnTo>
                  <a:lnTo>
                    <a:pt x="9" y="409"/>
                  </a:lnTo>
                  <a:lnTo>
                    <a:pt x="11" y="401"/>
                  </a:lnTo>
                  <a:lnTo>
                    <a:pt x="24" y="397"/>
                  </a:lnTo>
                  <a:lnTo>
                    <a:pt x="40" y="399"/>
                  </a:lnTo>
                  <a:lnTo>
                    <a:pt x="53" y="397"/>
                  </a:lnTo>
                  <a:lnTo>
                    <a:pt x="67" y="390"/>
                  </a:lnTo>
                  <a:lnTo>
                    <a:pt x="78" y="377"/>
                  </a:lnTo>
                  <a:lnTo>
                    <a:pt x="72" y="359"/>
                  </a:lnTo>
                  <a:lnTo>
                    <a:pt x="74" y="343"/>
                  </a:lnTo>
                  <a:lnTo>
                    <a:pt x="81" y="324"/>
                  </a:lnTo>
                  <a:lnTo>
                    <a:pt x="88" y="306"/>
                  </a:lnTo>
                  <a:lnTo>
                    <a:pt x="93" y="284"/>
                  </a:lnTo>
                  <a:lnTo>
                    <a:pt x="94" y="261"/>
                  </a:lnTo>
                  <a:lnTo>
                    <a:pt x="92" y="237"/>
                  </a:lnTo>
                  <a:lnTo>
                    <a:pt x="96" y="221"/>
                  </a:lnTo>
                  <a:lnTo>
                    <a:pt x="101" y="207"/>
                  </a:lnTo>
                  <a:lnTo>
                    <a:pt x="100" y="189"/>
                  </a:lnTo>
                  <a:lnTo>
                    <a:pt x="89" y="155"/>
                  </a:lnTo>
                  <a:lnTo>
                    <a:pt x="83" y="140"/>
                  </a:lnTo>
                  <a:lnTo>
                    <a:pt x="79" y="129"/>
                  </a:lnTo>
                  <a:lnTo>
                    <a:pt x="76" y="117"/>
                  </a:lnTo>
                  <a:lnTo>
                    <a:pt x="64" y="100"/>
                  </a:lnTo>
                  <a:lnTo>
                    <a:pt x="75" y="85"/>
                  </a:lnTo>
                  <a:lnTo>
                    <a:pt x="90" y="78"/>
                  </a:lnTo>
                  <a:lnTo>
                    <a:pt x="104" y="81"/>
                  </a:lnTo>
                  <a:lnTo>
                    <a:pt x="119" y="72"/>
                  </a:lnTo>
                  <a:lnTo>
                    <a:pt x="133" y="65"/>
                  </a:lnTo>
                  <a:lnTo>
                    <a:pt x="141" y="61"/>
                  </a:lnTo>
                  <a:lnTo>
                    <a:pt x="158" y="57"/>
                  </a:lnTo>
                  <a:lnTo>
                    <a:pt x="171" y="65"/>
                  </a:lnTo>
                  <a:lnTo>
                    <a:pt x="183" y="65"/>
                  </a:lnTo>
                  <a:lnTo>
                    <a:pt x="194" y="61"/>
                  </a:lnTo>
                  <a:lnTo>
                    <a:pt x="201" y="50"/>
                  </a:lnTo>
                  <a:lnTo>
                    <a:pt x="209" y="36"/>
                  </a:lnTo>
                  <a:lnTo>
                    <a:pt x="211" y="25"/>
                  </a:lnTo>
                  <a:lnTo>
                    <a:pt x="212" y="17"/>
                  </a:lnTo>
                  <a:lnTo>
                    <a:pt x="212" y="0"/>
                  </a:lnTo>
                  <a:lnTo>
                    <a:pt x="220" y="3"/>
                  </a:lnTo>
                  <a:lnTo>
                    <a:pt x="236" y="14"/>
                  </a:lnTo>
                  <a:lnTo>
                    <a:pt x="241" y="2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gray">
            <a:xfrm>
              <a:off x="5946936" y="3485599"/>
              <a:ext cx="839259" cy="690845"/>
            </a:xfrm>
            <a:custGeom>
              <a:avLst/>
              <a:gdLst>
                <a:gd name="T0" fmla="*/ 545 w 628"/>
                <a:gd name="T1" fmla="*/ 255 h 517"/>
                <a:gd name="T2" fmla="*/ 502 w 628"/>
                <a:gd name="T3" fmla="*/ 257 h 517"/>
                <a:gd name="T4" fmla="*/ 472 w 628"/>
                <a:gd name="T5" fmla="*/ 213 h 517"/>
                <a:gd name="T6" fmla="*/ 419 w 628"/>
                <a:gd name="T7" fmla="*/ 214 h 517"/>
                <a:gd name="T8" fmla="*/ 360 w 628"/>
                <a:gd name="T9" fmla="*/ 192 h 517"/>
                <a:gd name="T10" fmla="*/ 311 w 628"/>
                <a:gd name="T11" fmla="*/ 187 h 517"/>
                <a:gd name="T12" fmla="*/ 311 w 628"/>
                <a:gd name="T13" fmla="*/ 135 h 517"/>
                <a:gd name="T14" fmla="*/ 283 w 628"/>
                <a:gd name="T15" fmla="*/ 94 h 517"/>
                <a:gd name="T16" fmla="*/ 247 w 628"/>
                <a:gd name="T17" fmla="*/ 80 h 517"/>
                <a:gd name="T18" fmla="*/ 231 w 628"/>
                <a:gd name="T19" fmla="*/ 25 h 517"/>
                <a:gd name="T20" fmla="*/ 171 w 628"/>
                <a:gd name="T21" fmla="*/ 4 h 517"/>
                <a:gd name="T22" fmla="*/ 157 w 628"/>
                <a:gd name="T23" fmla="*/ 40 h 517"/>
                <a:gd name="T24" fmla="*/ 117 w 628"/>
                <a:gd name="T25" fmla="*/ 33 h 517"/>
                <a:gd name="T26" fmla="*/ 87 w 628"/>
                <a:gd name="T27" fmla="*/ 70 h 517"/>
                <a:gd name="T28" fmla="*/ 30 w 628"/>
                <a:gd name="T29" fmla="*/ 88 h 517"/>
                <a:gd name="T30" fmla="*/ 22 w 628"/>
                <a:gd name="T31" fmla="*/ 127 h 517"/>
                <a:gd name="T32" fmla="*/ 51 w 628"/>
                <a:gd name="T33" fmla="*/ 163 h 517"/>
                <a:gd name="T34" fmla="*/ 63 w 628"/>
                <a:gd name="T35" fmla="*/ 195 h 517"/>
                <a:gd name="T36" fmla="*/ 44 w 628"/>
                <a:gd name="T37" fmla="*/ 232 h 517"/>
                <a:gd name="T38" fmla="*/ 23 w 628"/>
                <a:gd name="T39" fmla="*/ 267 h 517"/>
                <a:gd name="T40" fmla="*/ 12 w 628"/>
                <a:gd name="T41" fmla="*/ 311 h 517"/>
                <a:gd name="T42" fmla="*/ 2 w 628"/>
                <a:gd name="T43" fmla="*/ 360 h 517"/>
                <a:gd name="T44" fmla="*/ 40 w 628"/>
                <a:gd name="T45" fmla="*/ 374 h 517"/>
                <a:gd name="T46" fmla="*/ 40 w 628"/>
                <a:gd name="T47" fmla="*/ 419 h 517"/>
                <a:gd name="T48" fmla="*/ 76 w 628"/>
                <a:gd name="T49" fmla="*/ 412 h 517"/>
                <a:gd name="T50" fmla="*/ 113 w 628"/>
                <a:gd name="T51" fmla="*/ 450 h 517"/>
                <a:gd name="T52" fmla="*/ 156 w 628"/>
                <a:gd name="T53" fmla="*/ 485 h 517"/>
                <a:gd name="T54" fmla="*/ 193 w 628"/>
                <a:gd name="T55" fmla="*/ 516 h 517"/>
                <a:gd name="T56" fmla="*/ 209 w 628"/>
                <a:gd name="T57" fmla="*/ 480 h 517"/>
                <a:gd name="T58" fmla="*/ 260 w 628"/>
                <a:gd name="T59" fmla="*/ 490 h 517"/>
                <a:gd name="T60" fmla="*/ 289 w 628"/>
                <a:gd name="T61" fmla="*/ 507 h 517"/>
                <a:gd name="T62" fmla="*/ 306 w 628"/>
                <a:gd name="T63" fmla="*/ 479 h 517"/>
                <a:gd name="T64" fmla="*/ 311 w 628"/>
                <a:gd name="T65" fmla="*/ 424 h 517"/>
                <a:gd name="T66" fmla="*/ 357 w 628"/>
                <a:gd name="T67" fmla="*/ 430 h 517"/>
                <a:gd name="T68" fmla="*/ 365 w 628"/>
                <a:gd name="T69" fmla="*/ 471 h 517"/>
                <a:gd name="T70" fmla="*/ 405 w 628"/>
                <a:gd name="T71" fmla="*/ 465 h 517"/>
                <a:gd name="T72" fmla="*/ 456 w 628"/>
                <a:gd name="T73" fmla="*/ 468 h 517"/>
                <a:gd name="T74" fmla="*/ 468 w 628"/>
                <a:gd name="T75" fmla="*/ 424 h 517"/>
                <a:gd name="T76" fmla="*/ 504 w 628"/>
                <a:gd name="T77" fmla="*/ 393 h 517"/>
                <a:gd name="T78" fmla="*/ 549 w 628"/>
                <a:gd name="T79" fmla="*/ 361 h 517"/>
                <a:gd name="T80" fmla="*/ 552 w 628"/>
                <a:gd name="T81" fmla="*/ 303 h 517"/>
                <a:gd name="T82" fmla="*/ 593 w 628"/>
                <a:gd name="T83" fmla="*/ 278 h 517"/>
                <a:gd name="T84" fmla="*/ 627 w 628"/>
                <a:gd name="T85" fmla="*/ 259 h 517"/>
                <a:gd name="T86" fmla="*/ 592 w 628"/>
                <a:gd name="T87" fmla="*/ 225 h 517"/>
                <a:gd name="T88" fmla="*/ 570 w 628"/>
                <a:gd name="T89" fmla="*/ 213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8" h="517">
                  <a:moveTo>
                    <a:pt x="556" y="224"/>
                  </a:moveTo>
                  <a:lnTo>
                    <a:pt x="555" y="241"/>
                  </a:lnTo>
                  <a:lnTo>
                    <a:pt x="545" y="255"/>
                  </a:lnTo>
                  <a:lnTo>
                    <a:pt x="526" y="246"/>
                  </a:lnTo>
                  <a:lnTo>
                    <a:pt x="513" y="249"/>
                  </a:lnTo>
                  <a:lnTo>
                    <a:pt x="502" y="257"/>
                  </a:lnTo>
                  <a:lnTo>
                    <a:pt x="495" y="245"/>
                  </a:lnTo>
                  <a:lnTo>
                    <a:pt x="488" y="224"/>
                  </a:lnTo>
                  <a:lnTo>
                    <a:pt x="472" y="213"/>
                  </a:lnTo>
                  <a:lnTo>
                    <a:pt x="456" y="209"/>
                  </a:lnTo>
                  <a:lnTo>
                    <a:pt x="434" y="212"/>
                  </a:lnTo>
                  <a:lnTo>
                    <a:pt x="419" y="214"/>
                  </a:lnTo>
                  <a:lnTo>
                    <a:pt x="402" y="206"/>
                  </a:lnTo>
                  <a:lnTo>
                    <a:pt x="380" y="198"/>
                  </a:lnTo>
                  <a:lnTo>
                    <a:pt x="360" y="192"/>
                  </a:lnTo>
                  <a:lnTo>
                    <a:pt x="344" y="194"/>
                  </a:lnTo>
                  <a:lnTo>
                    <a:pt x="325" y="196"/>
                  </a:lnTo>
                  <a:lnTo>
                    <a:pt x="311" y="187"/>
                  </a:lnTo>
                  <a:lnTo>
                    <a:pt x="304" y="170"/>
                  </a:lnTo>
                  <a:lnTo>
                    <a:pt x="301" y="153"/>
                  </a:lnTo>
                  <a:lnTo>
                    <a:pt x="311" y="135"/>
                  </a:lnTo>
                  <a:lnTo>
                    <a:pt x="308" y="115"/>
                  </a:lnTo>
                  <a:lnTo>
                    <a:pt x="300" y="99"/>
                  </a:lnTo>
                  <a:lnTo>
                    <a:pt x="283" y="94"/>
                  </a:lnTo>
                  <a:lnTo>
                    <a:pt x="268" y="99"/>
                  </a:lnTo>
                  <a:lnTo>
                    <a:pt x="254" y="94"/>
                  </a:lnTo>
                  <a:lnTo>
                    <a:pt x="247" y="80"/>
                  </a:lnTo>
                  <a:lnTo>
                    <a:pt x="245" y="63"/>
                  </a:lnTo>
                  <a:lnTo>
                    <a:pt x="242" y="44"/>
                  </a:lnTo>
                  <a:lnTo>
                    <a:pt x="231" y="25"/>
                  </a:lnTo>
                  <a:lnTo>
                    <a:pt x="214" y="9"/>
                  </a:lnTo>
                  <a:lnTo>
                    <a:pt x="195" y="0"/>
                  </a:lnTo>
                  <a:lnTo>
                    <a:pt x="171" y="4"/>
                  </a:lnTo>
                  <a:lnTo>
                    <a:pt x="175" y="20"/>
                  </a:lnTo>
                  <a:lnTo>
                    <a:pt x="171" y="32"/>
                  </a:lnTo>
                  <a:lnTo>
                    <a:pt x="157" y="40"/>
                  </a:lnTo>
                  <a:lnTo>
                    <a:pt x="145" y="37"/>
                  </a:lnTo>
                  <a:lnTo>
                    <a:pt x="134" y="23"/>
                  </a:lnTo>
                  <a:lnTo>
                    <a:pt x="117" y="33"/>
                  </a:lnTo>
                  <a:lnTo>
                    <a:pt x="112" y="47"/>
                  </a:lnTo>
                  <a:lnTo>
                    <a:pt x="97" y="58"/>
                  </a:lnTo>
                  <a:lnTo>
                    <a:pt x="87" y="70"/>
                  </a:lnTo>
                  <a:lnTo>
                    <a:pt x="70" y="81"/>
                  </a:lnTo>
                  <a:lnTo>
                    <a:pt x="51" y="90"/>
                  </a:lnTo>
                  <a:lnTo>
                    <a:pt x="30" y="88"/>
                  </a:lnTo>
                  <a:lnTo>
                    <a:pt x="8" y="92"/>
                  </a:lnTo>
                  <a:lnTo>
                    <a:pt x="15" y="110"/>
                  </a:lnTo>
                  <a:lnTo>
                    <a:pt x="22" y="127"/>
                  </a:lnTo>
                  <a:lnTo>
                    <a:pt x="36" y="135"/>
                  </a:lnTo>
                  <a:lnTo>
                    <a:pt x="44" y="148"/>
                  </a:lnTo>
                  <a:lnTo>
                    <a:pt x="51" y="163"/>
                  </a:lnTo>
                  <a:lnTo>
                    <a:pt x="66" y="165"/>
                  </a:lnTo>
                  <a:lnTo>
                    <a:pt x="74" y="181"/>
                  </a:lnTo>
                  <a:lnTo>
                    <a:pt x="63" y="195"/>
                  </a:lnTo>
                  <a:lnTo>
                    <a:pt x="51" y="202"/>
                  </a:lnTo>
                  <a:lnTo>
                    <a:pt x="41" y="213"/>
                  </a:lnTo>
                  <a:lnTo>
                    <a:pt x="44" y="232"/>
                  </a:lnTo>
                  <a:lnTo>
                    <a:pt x="48" y="252"/>
                  </a:lnTo>
                  <a:lnTo>
                    <a:pt x="33" y="256"/>
                  </a:lnTo>
                  <a:lnTo>
                    <a:pt x="23" y="267"/>
                  </a:lnTo>
                  <a:lnTo>
                    <a:pt x="19" y="285"/>
                  </a:lnTo>
                  <a:lnTo>
                    <a:pt x="26" y="298"/>
                  </a:lnTo>
                  <a:lnTo>
                    <a:pt x="12" y="311"/>
                  </a:lnTo>
                  <a:lnTo>
                    <a:pt x="4" y="327"/>
                  </a:lnTo>
                  <a:lnTo>
                    <a:pt x="0" y="343"/>
                  </a:lnTo>
                  <a:lnTo>
                    <a:pt x="2" y="360"/>
                  </a:lnTo>
                  <a:lnTo>
                    <a:pt x="13" y="374"/>
                  </a:lnTo>
                  <a:lnTo>
                    <a:pt x="27" y="367"/>
                  </a:lnTo>
                  <a:lnTo>
                    <a:pt x="40" y="374"/>
                  </a:lnTo>
                  <a:lnTo>
                    <a:pt x="45" y="389"/>
                  </a:lnTo>
                  <a:lnTo>
                    <a:pt x="38" y="404"/>
                  </a:lnTo>
                  <a:lnTo>
                    <a:pt x="40" y="419"/>
                  </a:lnTo>
                  <a:lnTo>
                    <a:pt x="41" y="422"/>
                  </a:lnTo>
                  <a:lnTo>
                    <a:pt x="55" y="418"/>
                  </a:lnTo>
                  <a:lnTo>
                    <a:pt x="76" y="412"/>
                  </a:lnTo>
                  <a:lnTo>
                    <a:pt x="92" y="418"/>
                  </a:lnTo>
                  <a:lnTo>
                    <a:pt x="103" y="433"/>
                  </a:lnTo>
                  <a:lnTo>
                    <a:pt x="113" y="450"/>
                  </a:lnTo>
                  <a:lnTo>
                    <a:pt x="130" y="462"/>
                  </a:lnTo>
                  <a:lnTo>
                    <a:pt x="148" y="471"/>
                  </a:lnTo>
                  <a:lnTo>
                    <a:pt x="156" y="485"/>
                  </a:lnTo>
                  <a:lnTo>
                    <a:pt x="160" y="503"/>
                  </a:lnTo>
                  <a:lnTo>
                    <a:pt x="173" y="514"/>
                  </a:lnTo>
                  <a:lnTo>
                    <a:pt x="193" y="516"/>
                  </a:lnTo>
                  <a:lnTo>
                    <a:pt x="203" y="514"/>
                  </a:lnTo>
                  <a:lnTo>
                    <a:pt x="198" y="493"/>
                  </a:lnTo>
                  <a:lnTo>
                    <a:pt x="209" y="480"/>
                  </a:lnTo>
                  <a:lnTo>
                    <a:pt x="224" y="478"/>
                  </a:lnTo>
                  <a:lnTo>
                    <a:pt x="243" y="483"/>
                  </a:lnTo>
                  <a:lnTo>
                    <a:pt x="260" y="490"/>
                  </a:lnTo>
                  <a:lnTo>
                    <a:pt x="272" y="486"/>
                  </a:lnTo>
                  <a:lnTo>
                    <a:pt x="281" y="498"/>
                  </a:lnTo>
                  <a:lnTo>
                    <a:pt x="289" y="507"/>
                  </a:lnTo>
                  <a:lnTo>
                    <a:pt x="303" y="509"/>
                  </a:lnTo>
                  <a:lnTo>
                    <a:pt x="311" y="501"/>
                  </a:lnTo>
                  <a:lnTo>
                    <a:pt x="306" y="479"/>
                  </a:lnTo>
                  <a:lnTo>
                    <a:pt x="299" y="457"/>
                  </a:lnTo>
                  <a:lnTo>
                    <a:pt x="299" y="440"/>
                  </a:lnTo>
                  <a:lnTo>
                    <a:pt x="311" y="424"/>
                  </a:lnTo>
                  <a:lnTo>
                    <a:pt x="326" y="417"/>
                  </a:lnTo>
                  <a:lnTo>
                    <a:pt x="342" y="419"/>
                  </a:lnTo>
                  <a:lnTo>
                    <a:pt x="357" y="430"/>
                  </a:lnTo>
                  <a:lnTo>
                    <a:pt x="360" y="443"/>
                  </a:lnTo>
                  <a:lnTo>
                    <a:pt x="358" y="458"/>
                  </a:lnTo>
                  <a:lnTo>
                    <a:pt x="365" y="471"/>
                  </a:lnTo>
                  <a:lnTo>
                    <a:pt x="379" y="473"/>
                  </a:lnTo>
                  <a:lnTo>
                    <a:pt x="393" y="471"/>
                  </a:lnTo>
                  <a:lnTo>
                    <a:pt x="405" y="465"/>
                  </a:lnTo>
                  <a:lnTo>
                    <a:pt x="425" y="471"/>
                  </a:lnTo>
                  <a:lnTo>
                    <a:pt x="441" y="476"/>
                  </a:lnTo>
                  <a:lnTo>
                    <a:pt x="456" y="468"/>
                  </a:lnTo>
                  <a:lnTo>
                    <a:pt x="463" y="467"/>
                  </a:lnTo>
                  <a:lnTo>
                    <a:pt x="469" y="437"/>
                  </a:lnTo>
                  <a:lnTo>
                    <a:pt x="468" y="424"/>
                  </a:lnTo>
                  <a:lnTo>
                    <a:pt x="470" y="407"/>
                  </a:lnTo>
                  <a:lnTo>
                    <a:pt x="481" y="396"/>
                  </a:lnTo>
                  <a:lnTo>
                    <a:pt x="504" y="393"/>
                  </a:lnTo>
                  <a:lnTo>
                    <a:pt x="524" y="388"/>
                  </a:lnTo>
                  <a:lnTo>
                    <a:pt x="539" y="378"/>
                  </a:lnTo>
                  <a:lnTo>
                    <a:pt x="549" y="361"/>
                  </a:lnTo>
                  <a:lnTo>
                    <a:pt x="548" y="339"/>
                  </a:lnTo>
                  <a:lnTo>
                    <a:pt x="542" y="320"/>
                  </a:lnTo>
                  <a:lnTo>
                    <a:pt x="552" y="303"/>
                  </a:lnTo>
                  <a:lnTo>
                    <a:pt x="570" y="302"/>
                  </a:lnTo>
                  <a:lnTo>
                    <a:pt x="585" y="295"/>
                  </a:lnTo>
                  <a:lnTo>
                    <a:pt x="593" y="278"/>
                  </a:lnTo>
                  <a:lnTo>
                    <a:pt x="609" y="271"/>
                  </a:lnTo>
                  <a:lnTo>
                    <a:pt x="621" y="267"/>
                  </a:lnTo>
                  <a:lnTo>
                    <a:pt x="627" y="259"/>
                  </a:lnTo>
                  <a:lnTo>
                    <a:pt x="618" y="242"/>
                  </a:lnTo>
                  <a:lnTo>
                    <a:pt x="603" y="237"/>
                  </a:lnTo>
                  <a:lnTo>
                    <a:pt x="592" y="225"/>
                  </a:lnTo>
                  <a:lnTo>
                    <a:pt x="595" y="214"/>
                  </a:lnTo>
                  <a:lnTo>
                    <a:pt x="585" y="212"/>
                  </a:lnTo>
                  <a:lnTo>
                    <a:pt x="570" y="213"/>
                  </a:lnTo>
                  <a:lnTo>
                    <a:pt x="556" y="22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gray">
            <a:xfrm>
              <a:off x="6565689" y="3473572"/>
              <a:ext cx="967554" cy="736278"/>
            </a:xfrm>
            <a:custGeom>
              <a:avLst/>
              <a:gdLst>
                <a:gd name="T0" fmla="*/ 341 w 724"/>
                <a:gd name="T1" fmla="*/ 83 h 551"/>
                <a:gd name="T2" fmla="*/ 333 w 724"/>
                <a:gd name="T3" fmla="*/ 132 h 551"/>
                <a:gd name="T4" fmla="*/ 364 w 724"/>
                <a:gd name="T5" fmla="*/ 113 h 551"/>
                <a:gd name="T6" fmla="*/ 416 w 724"/>
                <a:gd name="T7" fmla="*/ 121 h 551"/>
                <a:gd name="T8" fmla="*/ 482 w 724"/>
                <a:gd name="T9" fmla="*/ 107 h 551"/>
                <a:gd name="T10" fmla="*/ 510 w 724"/>
                <a:gd name="T11" fmla="*/ 56 h 551"/>
                <a:gd name="T12" fmla="*/ 547 w 724"/>
                <a:gd name="T13" fmla="*/ 38 h 551"/>
                <a:gd name="T14" fmla="*/ 579 w 724"/>
                <a:gd name="T15" fmla="*/ 16 h 551"/>
                <a:gd name="T16" fmla="*/ 620 w 724"/>
                <a:gd name="T17" fmla="*/ 17 h 551"/>
                <a:gd name="T18" fmla="*/ 666 w 724"/>
                <a:gd name="T19" fmla="*/ 0 h 551"/>
                <a:gd name="T20" fmla="*/ 694 w 724"/>
                <a:gd name="T21" fmla="*/ 42 h 551"/>
                <a:gd name="T22" fmla="*/ 709 w 724"/>
                <a:gd name="T23" fmla="*/ 92 h 551"/>
                <a:gd name="T24" fmla="*/ 717 w 724"/>
                <a:gd name="T25" fmla="*/ 153 h 551"/>
                <a:gd name="T26" fmla="*/ 699 w 724"/>
                <a:gd name="T27" fmla="*/ 237 h 551"/>
                <a:gd name="T28" fmla="*/ 665 w 724"/>
                <a:gd name="T29" fmla="*/ 270 h 551"/>
                <a:gd name="T30" fmla="*/ 636 w 724"/>
                <a:gd name="T31" fmla="*/ 246 h 551"/>
                <a:gd name="T32" fmla="*/ 608 w 724"/>
                <a:gd name="T33" fmla="*/ 207 h 551"/>
                <a:gd name="T34" fmla="*/ 554 w 724"/>
                <a:gd name="T35" fmla="*/ 208 h 551"/>
                <a:gd name="T36" fmla="*/ 578 w 724"/>
                <a:gd name="T37" fmla="*/ 241 h 551"/>
                <a:gd name="T38" fmla="*/ 549 w 724"/>
                <a:gd name="T39" fmla="*/ 261 h 551"/>
                <a:gd name="T40" fmla="*/ 506 w 724"/>
                <a:gd name="T41" fmla="*/ 300 h 551"/>
                <a:gd name="T42" fmla="*/ 457 w 724"/>
                <a:gd name="T43" fmla="*/ 301 h 551"/>
                <a:gd name="T44" fmla="*/ 402 w 724"/>
                <a:gd name="T45" fmla="*/ 327 h 551"/>
                <a:gd name="T46" fmla="*/ 352 w 724"/>
                <a:gd name="T47" fmla="*/ 366 h 551"/>
                <a:gd name="T48" fmla="*/ 308 w 724"/>
                <a:gd name="T49" fmla="*/ 392 h 551"/>
                <a:gd name="T50" fmla="*/ 261 w 724"/>
                <a:gd name="T51" fmla="*/ 426 h 551"/>
                <a:gd name="T52" fmla="*/ 230 w 724"/>
                <a:gd name="T53" fmla="*/ 466 h 551"/>
                <a:gd name="T54" fmla="*/ 189 w 724"/>
                <a:gd name="T55" fmla="*/ 459 h 551"/>
                <a:gd name="T56" fmla="*/ 155 w 724"/>
                <a:gd name="T57" fmla="*/ 477 h 551"/>
                <a:gd name="T58" fmla="*/ 121 w 724"/>
                <a:gd name="T59" fmla="*/ 502 h 551"/>
                <a:gd name="T60" fmla="*/ 121 w 724"/>
                <a:gd name="T61" fmla="*/ 550 h 551"/>
                <a:gd name="T62" fmla="*/ 71 w 724"/>
                <a:gd name="T63" fmla="*/ 530 h 551"/>
                <a:gd name="T64" fmla="*/ 28 w 724"/>
                <a:gd name="T65" fmla="*/ 503 h 551"/>
                <a:gd name="T66" fmla="*/ 0 w 724"/>
                <a:gd name="T67" fmla="*/ 476 h 551"/>
                <a:gd name="T68" fmla="*/ 7 w 724"/>
                <a:gd name="T69" fmla="*/ 416 h 551"/>
                <a:gd name="T70" fmla="*/ 61 w 724"/>
                <a:gd name="T71" fmla="*/ 397 h 551"/>
                <a:gd name="T72" fmla="*/ 85 w 724"/>
                <a:gd name="T73" fmla="*/ 352 h 551"/>
                <a:gd name="T74" fmla="*/ 89 w 724"/>
                <a:gd name="T75" fmla="*/ 312 h 551"/>
                <a:gd name="T76" fmla="*/ 130 w 724"/>
                <a:gd name="T77" fmla="*/ 287 h 551"/>
                <a:gd name="T78" fmla="*/ 164 w 724"/>
                <a:gd name="T79" fmla="*/ 266 h 551"/>
                <a:gd name="T80" fmla="*/ 129 w 724"/>
                <a:gd name="T81" fmla="*/ 234 h 551"/>
                <a:gd name="T82" fmla="*/ 107 w 724"/>
                <a:gd name="T83" fmla="*/ 222 h 551"/>
                <a:gd name="T84" fmla="*/ 89 w 724"/>
                <a:gd name="T85" fmla="*/ 203 h 551"/>
                <a:gd name="T86" fmla="*/ 61 w 724"/>
                <a:gd name="T87" fmla="*/ 153 h 551"/>
                <a:gd name="T88" fmla="*/ 61 w 724"/>
                <a:gd name="T89" fmla="*/ 115 h 551"/>
                <a:gd name="T90" fmla="*/ 97 w 724"/>
                <a:gd name="T91" fmla="*/ 72 h 551"/>
                <a:gd name="T92" fmla="*/ 154 w 724"/>
                <a:gd name="T93" fmla="*/ 60 h 551"/>
                <a:gd name="T94" fmla="*/ 201 w 724"/>
                <a:gd name="T95" fmla="*/ 38 h 551"/>
                <a:gd name="T96" fmla="*/ 245 w 724"/>
                <a:gd name="T97" fmla="*/ 38 h 551"/>
                <a:gd name="T98" fmla="*/ 294 w 724"/>
                <a:gd name="T99" fmla="*/ 54 h 551"/>
                <a:gd name="T100" fmla="*/ 322 w 724"/>
                <a:gd name="T101" fmla="*/ 47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4" h="551">
                  <a:moveTo>
                    <a:pt x="322" y="47"/>
                  </a:moveTo>
                  <a:lnTo>
                    <a:pt x="333" y="67"/>
                  </a:lnTo>
                  <a:lnTo>
                    <a:pt x="341" y="83"/>
                  </a:lnTo>
                  <a:lnTo>
                    <a:pt x="335" y="104"/>
                  </a:lnTo>
                  <a:lnTo>
                    <a:pt x="331" y="121"/>
                  </a:lnTo>
                  <a:lnTo>
                    <a:pt x="333" y="132"/>
                  </a:lnTo>
                  <a:lnTo>
                    <a:pt x="344" y="136"/>
                  </a:lnTo>
                  <a:lnTo>
                    <a:pt x="355" y="128"/>
                  </a:lnTo>
                  <a:lnTo>
                    <a:pt x="364" y="113"/>
                  </a:lnTo>
                  <a:lnTo>
                    <a:pt x="381" y="106"/>
                  </a:lnTo>
                  <a:lnTo>
                    <a:pt x="400" y="111"/>
                  </a:lnTo>
                  <a:lnTo>
                    <a:pt x="416" y="121"/>
                  </a:lnTo>
                  <a:lnTo>
                    <a:pt x="436" y="119"/>
                  </a:lnTo>
                  <a:lnTo>
                    <a:pt x="464" y="114"/>
                  </a:lnTo>
                  <a:lnTo>
                    <a:pt x="482" y="107"/>
                  </a:lnTo>
                  <a:lnTo>
                    <a:pt x="493" y="86"/>
                  </a:lnTo>
                  <a:lnTo>
                    <a:pt x="496" y="67"/>
                  </a:lnTo>
                  <a:lnTo>
                    <a:pt x="510" y="56"/>
                  </a:lnTo>
                  <a:lnTo>
                    <a:pt x="517" y="41"/>
                  </a:lnTo>
                  <a:lnTo>
                    <a:pt x="528" y="32"/>
                  </a:lnTo>
                  <a:lnTo>
                    <a:pt x="547" y="38"/>
                  </a:lnTo>
                  <a:lnTo>
                    <a:pt x="562" y="43"/>
                  </a:lnTo>
                  <a:lnTo>
                    <a:pt x="572" y="34"/>
                  </a:lnTo>
                  <a:lnTo>
                    <a:pt x="579" y="16"/>
                  </a:lnTo>
                  <a:lnTo>
                    <a:pt x="594" y="2"/>
                  </a:lnTo>
                  <a:lnTo>
                    <a:pt x="608" y="9"/>
                  </a:lnTo>
                  <a:lnTo>
                    <a:pt x="620" y="17"/>
                  </a:lnTo>
                  <a:lnTo>
                    <a:pt x="636" y="10"/>
                  </a:lnTo>
                  <a:lnTo>
                    <a:pt x="656" y="9"/>
                  </a:lnTo>
                  <a:lnTo>
                    <a:pt x="666" y="0"/>
                  </a:lnTo>
                  <a:lnTo>
                    <a:pt x="665" y="17"/>
                  </a:lnTo>
                  <a:lnTo>
                    <a:pt x="676" y="28"/>
                  </a:lnTo>
                  <a:lnTo>
                    <a:pt x="694" y="42"/>
                  </a:lnTo>
                  <a:lnTo>
                    <a:pt x="709" y="53"/>
                  </a:lnTo>
                  <a:lnTo>
                    <a:pt x="708" y="74"/>
                  </a:lnTo>
                  <a:lnTo>
                    <a:pt x="709" y="92"/>
                  </a:lnTo>
                  <a:lnTo>
                    <a:pt x="720" y="111"/>
                  </a:lnTo>
                  <a:lnTo>
                    <a:pt x="723" y="132"/>
                  </a:lnTo>
                  <a:lnTo>
                    <a:pt x="717" y="153"/>
                  </a:lnTo>
                  <a:lnTo>
                    <a:pt x="706" y="185"/>
                  </a:lnTo>
                  <a:lnTo>
                    <a:pt x="702" y="211"/>
                  </a:lnTo>
                  <a:lnTo>
                    <a:pt x="699" y="237"/>
                  </a:lnTo>
                  <a:lnTo>
                    <a:pt x="692" y="252"/>
                  </a:lnTo>
                  <a:lnTo>
                    <a:pt x="680" y="264"/>
                  </a:lnTo>
                  <a:lnTo>
                    <a:pt x="665" y="270"/>
                  </a:lnTo>
                  <a:lnTo>
                    <a:pt x="648" y="268"/>
                  </a:lnTo>
                  <a:lnTo>
                    <a:pt x="638" y="262"/>
                  </a:lnTo>
                  <a:lnTo>
                    <a:pt x="636" y="246"/>
                  </a:lnTo>
                  <a:lnTo>
                    <a:pt x="629" y="232"/>
                  </a:lnTo>
                  <a:lnTo>
                    <a:pt x="615" y="223"/>
                  </a:lnTo>
                  <a:lnTo>
                    <a:pt x="608" y="207"/>
                  </a:lnTo>
                  <a:lnTo>
                    <a:pt x="590" y="205"/>
                  </a:lnTo>
                  <a:lnTo>
                    <a:pt x="571" y="200"/>
                  </a:lnTo>
                  <a:lnTo>
                    <a:pt x="554" y="208"/>
                  </a:lnTo>
                  <a:lnTo>
                    <a:pt x="551" y="222"/>
                  </a:lnTo>
                  <a:lnTo>
                    <a:pt x="568" y="232"/>
                  </a:lnTo>
                  <a:lnTo>
                    <a:pt x="578" y="241"/>
                  </a:lnTo>
                  <a:lnTo>
                    <a:pt x="576" y="255"/>
                  </a:lnTo>
                  <a:lnTo>
                    <a:pt x="568" y="262"/>
                  </a:lnTo>
                  <a:lnTo>
                    <a:pt x="549" y="261"/>
                  </a:lnTo>
                  <a:lnTo>
                    <a:pt x="537" y="275"/>
                  </a:lnTo>
                  <a:lnTo>
                    <a:pt x="521" y="286"/>
                  </a:lnTo>
                  <a:lnTo>
                    <a:pt x="506" y="300"/>
                  </a:lnTo>
                  <a:lnTo>
                    <a:pt x="488" y="298"/>
                  </a:lnTo>
                  <a:lnTo>
                    <a:pt x="475" y="293"/>
                  </a:lnTo>
                  <a:lnTo>
                    <a:pt x="457" y="301"/>
                  </a:lnTo>
                  <a:lnTo>
                    <a:pt x="446" y="316"/>
                  </a:lnTo>
                  <a:lnTo>
                    <a:pt x="428" y="322"/>
                  </a:lnTo>
                  <a:lnTo>
                    <a:pt x="402" y="327"/>
                  </a:lnTo>
                  <a:lnTo>
                    <a:pt x="382" y="336"/>
                  </a:lnTo>
                  <a:lnTo>
                    <a:pt x="363" y="348"/>
                  </a:lnTo>
                  <a:lnTo>
                    <a:pt x="352" y="366"/>
                  </a:lnTo>
                  <a:lnTo>
                    <a:pt x="339" y="380"/>
                  </a:lnTo>
                  <a:lnTo>
                    <a:pt x="324" y="383"/>
                  </a:lnTo>
                  <a:lnTo>
                    <a:pt x="308" y="392"/>
                  </a:lnTo>
                  <a:lnTo>
                    <a:pt x="295" y="408"/>
                  </a:lnTo>
                  <a:lnTo>
                    <a:pt x="277" y="416"/>
                  </a:lnTo>
                  <a:lnTo>
                    <a:pt x="261" y="426"/>
                  </a:lnTo>
                  <a:lnTo>
                    <a:pt x="252" y="442"/>
                  </a:lnTo>
                  <a:lnTo>
                    <a:pt x="244" y="459"/>
                  </a:lnTo>
                  <a:lnTo>
                    <a:pt x="230" y="466"/>
                  </a:lnTo>
                  <a:lnTo>
                    <a:pt x="218" y="462"/>
                  </a:lnTo>
                  <a:lnTo>
                    <a:pt x="202" y="453"/>
                  </a:lnTo>
                  <a:lnTo>
                    <a:pt x="189" y="459"/>
                  </a:lnTo>
                  <a:lnTo>
                    <a:pt x="183" y="471"/>
                  </a:lnTo>
                  <a:lnTo>
                    <a:pt x="168" y="469"/>
                  </a:lnTo>
                  <a:lnTo>
                    <a:pt x="155" y="477"/>
                  </a:lnTo>
                  <a:lnTo>
                    <a:pt x="147" y="492"/>
                  </a:lnTo>
                  <a:lnTo>
                    <a:pt x="136" y="496"/>
                  </a:lnTo>
                  <a:lnTo>
                    <a:pt x="121" y="502"/>
                  </a:lnTo>
                  <a:lnTo>
                    <a:pt x="115" y="518"/>
                  </a:lnTo>
                  <a:lnTo>
                    <a:pt x="119" y="535"/>
                  </a:lnTo>
                  <a:lnTo>
                    <a:pt x="121" y="550"/>
                  </a:lnTo>
                  <a:lnTo>
                    <a:pt x="101" y="548"/>
                  </a:lnTo>
                  <a:lnTo>
                    <a:pt x="85" y="534"/>
                  </a:lnTo>
                  <a:lnTo>
                    <a:pt x="71" y="530"/>
                  </a:lnTo>
                  <a:lnTo>
                    <a:pt x="56" y="518"/>
                  </a:lnTo>
                  <a:lnTo>
                    <a:pt x="41" y="516"/>
                  </a:lnTo>
                  <a:lnTo>
                    <a:pt x="28" y="503"/>
                  </a:lnTo>
                  <a:lnTo>
                    <a:pt x="17" y="487"/>
                  </a:lnTo>
                  <a:lnTo>
                    <a:pt x="5" y="476"/>
                  </a:lnTo>
                  <a:lnTo>
                    <a:pt x="0" y="476"/>
                  </a:lnTo>
                  <a:lnTo>
                    <a:pt x="6" y="449"/>
                  </a:lnTo>
                  <a:lnTo>
                    <a:pt x="5" y="433"/>
                  </a:lnTo>
                  <a:lnTo>
                    <a:pt x="7" y="416"/>
                  </a:lnTo>
                  <a:lnTo>
                    <a:pt x="18" y="405"/>
                  </a:lnTo>
                  <a:lnTo>
                    <a:pt x="41" y="401"/>
                  </a:lnTo>
                  <a:lnTo>
                    <a:pt x="61" y="397"/>
                  </a:lnTo>
                  <a:lnTo>
                    <a:pt x="76" y="385"/>
                  </a:lnTo>
                  <a:lnTo>
                    <a:pt x="86" y="370"/>
                  </a:lnTo>
                  <a:lnTo>
                    <a:pt x="85" y="352"/>
                  </a:lnTo>
                  <a:lnTo>
                    <a:pt x="82" y="340"/>
                  </a:lnTo>
                  <a:lnTo>
                    <a:pt x="79" y="330"/>
                  </a:lnTo>
                  <a:lnTo>
                    <a:pt x="89" y="312"/>
                  </a:lnTo>
                  <a:lnTo>
                    <a:pt x="107" y="311"/>
                  </a:lnTo>
                  <a:lnTo>
                    <a:pt x="122" y="304"/>
                  </a:lnTo>
                  <a:lnTo>
                    <a:pt x="130" y="287"/>
                  </a:lnTo>
                  <a:lnTo>
                    <a:pt x="147" y="279"/>
                  </a:lnTo>
                  <a:lnTo>
                    <a:pt x="158" y="276"/>
                  </a:lnTo>
                  <a:lnTo>
                    <a:pt x="164" y="266"/>
                  </a:lnTo>
                  <a:lnTo>
                    <a:pt x="155" y="251"/>
                  </a:lnTo>
                  <a:lnTo>
                    <a:pt x="140" y="247"/>
                  </a:lnTo>
                  <a:lnTo>
                    <a:pt x="129" y="234"/>
                  </a:lnTo>
                  <a:lnTo>
                    <a:pt x="132" y="223"/>
                  </a:lnTo>
                  <a:lnTo>
                    <a:pt x="121" y="221"/>
                  </a:lnTo>
                  <a:lnTo>
                    <a:pt x="107" y="222"/>
                  </a:lnTo>
                  <a:lnTo>
                    <a:pt x="93" y="233"/>
                  </a:lnTo>
                  <a:lnTo>
                    <a:pt x="100" y="216"/>
                  </a:lnTo>
                  <a:lnTo>
                    <a:pt x="89" y="203"/>
                  </a:lnTo>
                  <a:lnTo>
                    <a:pt x="76" y="185"/>
                  </a:lnTo>
                  <a:lnTo>
                    <a:pt x="64" y="168"/>
                  </a:lnTo>
                  <a:lnTo>
                    <a:pt x="61" y="153"/>
                  </a:lnTo>
                  <a:lnTo>
                    <a:pt x="53" y="144"/>
                  </a:lnTo>
                  <a:lnTo>
                    <a:pt x="54" y="129"/>
                  </a:lnTo>
                  <a:lnTo>
                    <a:pt x="61" y="115"/>
                  </a:lnTo>
                  <a:lnTo>
                    <a:pt x="64" y="95"/>
                  </a:lnTo>
                  <a:lnTo>
                    <a:pt x="78" y="79"/>
                  </a:lnTo>
                  <a:lnTo>
                    <a:pt x="97" y="72"/>
                  </a:lnTo>
                  <a:lnTo>
                    <a:pt x="114" y="61"/>
                  </a:lnTo>
                  <a:lnTo>
                    <a:pt x="136" y="56"/>
                  </a:lnTo>
                  <a:lnTo>
                    <a:pt x="154" y="60"/>
                  </a:lnTo>
                  <a:lnTo>
                    <a:pt x="175" y="54"/>
                  </a:lnTo>
                  <a:lnTo>
                    <a:pt x="184" y="45"/>
                  </a:lnTo>
                  <a:lnTo>
                    <a:pt x="201" y="38"/>
                  </a:lnTo>
                  <a:lnTo>
                    <a:pt x="219" y="41"/>
                  </a:lnTo>
                  <a:lnTo>
                    <a:pt x="233" y="35"/>
                  </a:lnTo>
                  <a:lnTo>
                    <a:pt x="245" y="38"/>
                  </a:lnTo>
                  <a:lnTo>
                    <a:pt x="263" y="50"/>
                  </a:lnTo>
                  <a:lnTo>
                    <a:pt x="277" y="52"/>
                  </a:lnTo>
                  <a:lnTo>
                    <a:pt x="294" y="54"/>
                  </a:lnTo>
                  <a:lnTo>
                    <a:pt x="305" y="42"/>
                  </a:lnTo>
                  <a:lnTo>
                    <a:pt x="316" y="34"/>
                  </a:lnTo>
                  <a:lnTo>
                    <a:pt x="322" y="4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gray">
            <a:xfrm>
              <a:off x="5634219" y="4036136"/>
              <a:ext cx="1601007" cy="1624889"/>
            </a:xfrm>
            <a:custGeom>
              <a:avLst/>
              <a:gdLst>
                <a:gd name="T0" fmla="*/ 347 w 1198"/>
                <a:gd name="T1" fmla="*/ 38 h 1216"/>
                <a:gd name="T2" fmla="*/ 427 w 1198"/>
                <a:gd name="T3" fmla="*/ 104 h 1216"/>
                <a:gd name="T4" fmla="*/ 494 w 1198"/>
                <a:gd name="T5" fmla="*/ 78 h 1216"/>
                <a:gd name="T6" fmla="*/ 540 w 1198"/>
                <a:gd name="T7" fmla="*/ 67 h 1216"/>
                <a:gd name="T8" fmla="*/ 591 w 1198"/>
                <a:gd name="T9" fmla="*/ 18 h 1216"/>
                <a:gd name="T10" fmla="*/ 639 w 1198"/>
                <a:gd name="T11" fmla="*/ 53 h 1216"/>
                <a:gd name="T12" fmla="*/ 724 w 1198"/>
                <a:gd name="T13" fmla="*/ 81 h 1216"/>
                <a:gd name="T14" fmla="*/ 771 w 1198"/>
                <a:gd name="T15" fmla="*/ 172 h 1216"/>
                <a:gd name="T16" fmla="*/ 841 w 1198"/>
                <a:gd name="T17" fmla="*/ 222 h 1216"/>
                <a:gd name="T18" fmla="*/ 832 w 1198"/>
                <a:gd name="T19" fmla="*/ 302 h 1216"/>
                <a:gd name="T20" fmla="*/ 893 w 1198"/>
                <a:gd name="T21" fmla="*/ 370 h 1216"/>
                <a:gd name="T22" fmla="*/ 955 w 1198"/>
                <a:gd name="T23" fmla="*/ 438 h 1216"/>
                <a:gd name="T24" fmla="*/ 1028 w 1198"/>
                <a:gd name="T25" fmla="*/ 502 h 1216"/>
                <a:gd name="T26" fmla="*/ 1096 w 1198"/>
                <a:gd name="T27" fmla="*/ 562 h 1216"/>
                <a:gd name="T28" fmla="*/ 1185 w 1198"/>
                <a:gd name="T29" fmla="*/ 632 h 1216"/>
                <a:gd name="T30" fmla="*/ 1161 w 1198"/>
                <a:gd name="T31" fmla="*/ 722 h 1216"/>
                <a:gd name="T32" fmla="*/ 1093 w 1198"/>
                <a:gd name="T33" fmla="*/ 775 h 1216"/>
                <a:gd name="T34" fmla="*/ 1007 w 1198"/>
                <a:gd name="T35" fmla="*/ 846 h 1216"/>
                <a:gd name="T36" fmla="*/ 924 w 1198"/>
                <a:gd name="T37" fmla="*/ 901 h 1216"/>
                <a:gd name="T38" fmla="*/ 989 w 1198"/>
                <a:gd name="T39" fmla="*/ 1003 h 1216"/>
                <a:gd name="T40" fmla="*/ 1009 w 1198"/>
                <a:gd name="T41" fmla="*/ 1087 h 1216"/>
                <a:gd name="T42" fmla="*/ 956 w 1198"/>
                <a:gd name="T43" fmla="*/ 1109 h 1216"/>
                <a:gd name="T44" fmla="*/ 873 w 1198"/>
                <a:gd name="T45" fmla="*/ 1081 h 1216"/>
                <a:gd name="T46" fmla="*/ 804 w 1198"/>
                <a:gd name="T47" fmla="*/ 1035 h 1216"/>
                <a:gd name="T48" fmla="*/ 754 w 1198"/>
                <a:gd name="T49" fmla="*/ 1092 h 1216"/>
                <a:gd name="T50" fmla="*/ 664 w 1198"/>
                <a:gd name="T51" fmla="*/ 1116 h 1216"/>
                <a:gd name="T52" fmla="*/ 559 w 1198"/>
                <a:gd name="T53" fmla="*/ 1142 h 1216"/>
                <a:gd name="T54" fmla="*/ 468 w 1198"/>
                <a:gd name="T55" fmla="*/ 1131 h 1216"/>
                <a:gd name="T56" fmla="*/ 371 w 1198"/>
                <a:gd name="T57" fmla="*/ 1096 h 1216"/>
                <a:gd name="T58" fmla="*/ 350 w 1198"/>
                <a:gd name="T59" fmla="*/ 1179 h 1216"/>
                <a:gd name="T60" fmla="*/ 281 w 1198"/>
                <a:gd name="T61" fmla="*/ 1179 h 1216"/>
                <a:gd name="T62" fmla="*/ 227 w 1198"/>
                <a:gd name="T63" fmla="*/ 1100 h 1216"/>
                <a:gd name="T64" fmla="*/ 144 w 1198"/>
                <a:gd name="T65" fmla="*/ 1114 h 1216"/>
                <a:gd name="T66" fmla="*/ 228 w 1198"/>
                <a:gd name="T67" fmla="*/ 1059 h 1216"/>
                <a:gd name="T68" fmla="*/ 279 w 1198"/>
                <a:gd name="T69" fmla="*/ 1038 h 1216"/>
                <a:gd name="T70" fmla="*/ 286 w 1198"/>
                <a:gd name="T71" fmla="*/ 927 h 1216"/>
                <a:gd name="T72" fmla="*/ 264 w 1198"/>
                <a:gd name="T73" fmla="*/ 814 h 1216"/>
                <a:gd name="T74" fmla="*/ 337 w 1198"/>
                <a:gd name="T75" fmla="*/ 737 h 1216"/>
                <a:gd name="T76" fmla="*/ 368 w 1198"/>
                <a:gd name="T77" fmla="*/ 711 h 1216"/>
                <a:gd name="T78" fmla="*/ 367 w 1198"/>
                <a:gd name="T79" fmla="*/ 600 h 1216"/>
                <a:gd name="T80" fmla="*/ 311 w 1198"/>
                <a:gd name="T81" fmla="*/ 520 h 1216"/>
                <a:gd name="T82" fmla="*/ 292 w 1198"/>
                <a:gd name="T83" fmla="*/ 435 h 1216"/>
                <a:gd name="T84" fmla="*/ 264 w 1198"/>
                <a:gd name="T85" fmla="*/ 377 h 1216"/>
                <a:gd name="T86" fmla="*/ 213 w 1198"/>
                <a:gd name="T87" fmla="*/ 361 h 1216"/>
                <a:gd name="T88" fmla="*/ 173 w 1198"/>
                <a:gd name="T89" fmla="*/ 308 h 1216"/>
                <a:gd name="T90" fmla="*/ 119 w 1198"/>
                <a:gd name="T91" fmla="*/ 289 h 1216"/>
                <a:gd name="T92" fmla="*/ 76 w 1198"/>
                <a:gd name="T93" fmla="*/ 334 h 1216"/>
                <a:gd name="T94" fmla="*/ 11 w 1198"/>
                <a:gd name="T95" fmla="*/ 330 h 1216"/>
                <a:gd name="T96" fmla="*/ 14 w 1198"/>
                <a:gd name="T97" fmla="*/ 228 h 1216"/>
                <a:gd name="T98" fmla="*/ 56 w 1198"/>
                <a:gd name="T99" fmla="*/ 175 h 1216"/>
                <a:gd name="T100" fmla="*/ 137 w 1198"/>
                <a:gd name="T101" fmla="*/ 147 h 1216"/>
                <a:gd name="T102" fmla="*/ 184 w 1198"/>
                <a:gd name="T103" fmla="*/ 99 h 1216"/>
                <a:gd name="T104" fmla="*/ 225 w 1198"/>
                <a:gd name="T105" fmla="*/ 68 h 1216"/>
                <a:gd name="T106" fmla="*/ 275 w 1198"/>
                <a:gd name="T107" fmla="*/ 12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98" h="1216">
                  <a:moveTo>
                    <a:pt x="275" y="12"/>
                  </a:moveTo>
                  <a:lnTo>
                    <a:pt x="289" y="6"/>
                  </a:lnTo>
                  <a:lnTo>
                    <a:pt x="310" y="0"/>
                  </a:lnTo>
                  <a:lnTo>
                    <a:pt x="328" y="6"/>
                  </a:lnTo>
                  <a:lnTo>
                    <a:pt x="337" y="21"/>
                  </a:lnTo>
                  <a:lnTo>
                    <a:pt x="347" y="38"/>
                  </a:lnTo>
                  <a:lnTo>
                    <a:pt x="364" y="50"/>
                  </a:lnTo>
                  <a:lnTo>
                    <a:pt x="382" y="59"/>
                  </a:lnTo>
                  <a:lnTo>
                    <a:pt x="390" y="73"/>
                  </a:lnTo>
                  <a:lnTo>
                    <a:pt x="394" y="91"/>
                  </a:lnTo>
                  <a:lnTo>
                    <a:pt x="407" y="102"/>
                  </a:lnTo>
                  <a:lnTo>
                    <a:pt x="427" y="104"/>
                  </a:lnTo>
                  <a:lnTo>
                    <a:pt x="437" y="102"/>
                  </a:lnTo>
                  <a:lnTo>
                    <a:pt x="432" y="81"/>
                  </a:lnTo>
                  <a:lnTo>
                    <a:pt x="443" y="68"/>
                  </a:lnTo>
                  <a:lnTo>
                    <a:pt x="458" y="66"/>
                  </a:lnTo>
                  <a:lnTo>
                    <a:pt x="477" y="71"/>
                  </a:lnTo>
                  <a:lnTo>
                    <a:pt x="494" y="78"/>
                  </a:lnTo>
                  <a:lnTo>
                    <a:pt x="506" y="74"/>
                  </a:lnTo>
                  <a:lnTo>
                    <a:pt x="515" y="86"/>
                  </a:lnTo>
                  <a:lnTo>
                    <a:pt x="523" y="95"/>
                  </a:lnTo>
                  <a:lnTo>
                    <a:pt x="537" y="97"/>
                  </a:lnTo>
                  <a:lnTo>
                    <a:pt x="545" y="89"/>
                  </a:lnTo>
                  <a:lnTo>
                    <a:pt x="540" y="67"/>
                  </a:lnTo>
                  <a:lnTo>
                    <a:pt x="533" y="45"/>
                  </a:lnTo>
                  <a:lnTo>
                    <a:pt x="533" y="28"/>
                  </a:lnTo>
                  <a:lnTo>
                    <a:pt x="545" y="12"/>
                  </a:lnTo>
                  <a:lnTo>
                    <a:pt x="560" y="5"/>
                  </a:lnTo>
                  <a:lnTo>
                    <a:pt x="576" y="7"/>
                  </a:lnTo>
                  <a:lnTo>
                    <a:pt x="591" y="18"/>
                  </a:lnTo>
                  <a:lnTo>
                    <a:pt x="594" y="31"/>
                  </a:lnTo>
                  <a:lnTo>
                    <a:pt x="592" y="46"/>
                  </a:lnTo>
                  <a:lnTo>
                    <a:pt x="599" y="59"/>
                  </a:lnTo>
                  <a:lnTo>
                    <a:pt x="613" y="61"/>
                  </a:lnTo>
                  <a:lnTo>
                    <a:pt x="627" y="59"/>
                  </a:lnTo>
                  <a:lnTo>
                    <a:pt x="639" y="53"/>
                  </a:lnTo>
                  <a:lnTo>
                    <a:pt x="659" y="59"/>
                  </a:lnTo>
                  <a:lnTo>
                    <a:pt x="675" y="64"/>
                  </a:lnTo>
                  <a:lnTo>
                    <a:pt x="690" y="56"/>
                  </a:lnTo>
                  <a:lnTo>
                    <a:pt x="702" y="55"/>
                  </a:lnTo>
                  <a:lnTo>
                    <a:pt x="713" y="66"/>
                  </a:lnTo>
                  <a:lnTo>
                    <a:pt x="724" y="81"/>
                  </a:lnTo>
                  <a:lnTo>
                    <a:pt x="736" y="93"/>
                  </a:lnTo>
                  <a:lnTo>
                    <a:pt x="753" y="109"/>
                  </a:lnTo>
                  <a:lnTo>
                    <a:pt x="757" y="125"/>
                  </a:lnTo>
                  <a:lnTo>
                    <a:pt x="767" y="142"/>
                  </a:lnTo>
                  <a:lnTo>
                    <a:pt x="775" y="157"/>
                  </a:lnTo>
                  <a:lnTo>
                    <a:pt x="771" y="172"/>
                  </a:lnTo>
                  <a:lnTo>
                    <a:pt x="789" y="175"/>
                  </a:lnTo>
                  <a:lnTo>
                    <a:pt x="800" y="178"/>
                  </a:lnTo>
                  <a:lnTo>
                    <a:pt x="808" y="192"/>
                  </a:lnTo>
                  <a:lnTo>
                    <a:pt x="815" y="206"/>
                  </a:lnTo>
                  <a:lnTo>
                    <a:pt x="830" y="212"/>
                  </a:lnTo>
                  <a:lnTo>
                    <a:pt x="841" y="222"/>
                  </a:lnTo>
                  <a:lnTo>
                    <a:pt x="854" y="237"/>
                  </a:lnTo>
                  <a:lnTo>
                    <a:pt x="857" y="253"/>
                  </a:lnTo>
                  <a:lnTo>
                    <a:pt x="850" y="266"/>
                  </a:lnTo>
                  <a:lnTo>
                    <a:pt x="837" y="273"/>
                  </a:lnTo>
                  <a:lnTo>
                    <a:pt x="830" y="289"/>
                  </a:lnTo>
                  <a:lnTo>
                    <a:pt x="832" y="302"/>
                  </a:lnTo>
                  <a:lnTo>
                    <a:pt x="843" y="312"/>
                  </a:lnTo>
                  <a:lnTo>
                    <a:pt x="857" y="325"/>
                  </a:lnTo>
                  <a:lnTo>
                    <a:pt x="858" y="343"/>
                  </a:lnTo>
                  <a:lnTo>
                    <a:pt x="863" y="357"/>
                  </a:lnTo>
                  <a:lnTo>
                    <a:pt x="879" y="363"/>
                  </a:lnTo>
                  <a:lnTo>
                    <a:pt x="893" y="370"/>
                  </a:lnTo>
                  <a:lnTo>
                    <a:pt x="904" y="386"/>
                  </a:lnTo>
                  <a:lnTo>
                    <a:pt x="908" y="401"/>
                  </a:lnTo>
                  <a:lnTo>
                    <a:pt x="913" y="413"/>
                  </a:lnTo>
                  <a:lnTo>
                    <a:pt x="931" y="423"/>
                  </a:lnTo>
                  <a:lnTo>
                    <a:pt x="947" y="426"/>
                  </a:lnTo>
                  <a:lnTo>
                    <a:pt x="955" y="438"/>
                  </a:lnTo>
                  <a:lnTo>
                    <a:pt x="971" y="433"/>
                  </a:lnTo>
                  <a:lnTo>
                    <a:pt x="988" y="440"/>
                  </a:lnTo>
                  <a:lnTo>
                    <a:pt x="1002" y="451"/>
                  </a:lnTo>
                  <a:lnTo>
                    <a:pt x="1009" y="469"/>
                  </a:lnTo>
                  <a:lnTo>
                    <a:pt x="1020" y="485"/>
                  </a:lnTo>
                  <a:lnTo>
                    <a:pt x="1028" y="502"/>
                  </a:lnTo>
                  <a:lnTo>
                    <a:pt x="1039" y="516"/>
                  </a:lnTo>
                  <a:lnTo>
                    <a:pt x="1052" y="521"/>
                  </a:lnTo>
                  <a:lnTo>
                    <a:pt x="1067" y="521"/>
                  </a:lnTo>
                  <a:lnTo>
                    <a:pt x="1082" y="526"/>
                  </a:lnTo>
                  <a:lnTo>
                    <a:pt x="1089" y="541"/>
                  </a:lnTo>
                  <a:lnTo>
                    <a:pt x="1096" y="562"/>
                  </a:lnTo>
                  <a:lnTo>
                    <a:pt x="1111" y="575"/>
                  </a:lnTo>
                  <a:lnTo>
                    <a:pt x="1131" y="578"/>
                  </a:lnTo>
                  <a:lnTo>
                    <a:pt x="1147" y="591"/>
                  </a:lnTo>
                  <a:lnTo>
                    <a:pt x="1154" y="610"/>
                  </a:lnTo>
                  <a:lnTo>
                    <a:pt x="1167" y="625"/>
                  </a:lnTo>
                  <a:lnTo>
                    <a:pt x="1185" y="632"/>
                  </a:lnTo>
                  <a:lnTo>
                    <a:pt x="1197" y="653"/>
                  </a:lnTo>
                  <a:lnTo>
                    <a:pt x="1194" y="674"/>
                  </a:lnTo>
                  <a:lnTo>
                    <a:pt x="1190" y="697"/>
                  </a:lnTo>
                  <a:lnTo>
                    <a:pt x="1180" y="717"/>
                  </a:lnTo>
                  <a:lnTo>
                    <a:pt x="1176" y="735"/>
                  </a:lnTo>
                  <a:lnTo>
                    <a:pt x="1161" y="722"/>
                  </a:lnTo>
                  <a:lnTo>
                    <a:pt x="1146" y="717"/>
                  </a:lnTo>
                  <a:lnTo>
                    <a:pt x="1135" y="726"/>
                  </a:lnTo>
                  <a:lnTo>
                    <a:pt x="1126" y="739"/>
                  </a:lnTo>
                  <a:lnTo>
                    <a:pt x="1110" y="735"/>
                  </a:lnTo>
                  <a:lnTo>
                    <a:pt x="1100" y="751"/>
                  </a:lnTo>
                  <a:lnTo>
                    <a:pt x="1093" y="775"/>
                  </a:lnTo>
                  <a:lnTo>
                    <a:pt x="1086" y="797"/>
                  </a:lnTo>
                  <a:lnTo>
                    <a:pt x="1077" y="815"/>
                  </a:lnTo>
                  <a:lnTo>
                    <a:pt x="1063" y="827"/>
                  </a:lnTo>
                  <a:lnTo>
                    <a:pt x="1042" y="833"/>
                  </a:lnTo>
                  <a:lnTo>
                    <a:pt x="1023" y="836"/>
                  </a:lnTo>
                  <a:lnTo>
                    <a:pt x="1007" y="846"/>
                  </a:lnTo>
                  <a:lnTo>
                    <a:pt x="992" y="854"/>
                  </a:lnTo>
                  <a:lnTo>
                    <a:pt x="973" y="851"/>
                  </a:lnTo>
                  <a:lnTo>
                    <a:pt x="959" y="859"/>
                  </a:lnTo>
                  <a:lnTo>
                    <a:pt x="948" y="875"/>
                  </a:lnTo>
                  <a:lnTo>
                    <a:pt x="934" y="886"/>
                  </a:lnTo>
                  <a:lnTo>
                    <a:pt x="924" y="901"/>
                  </a:lnTo>
                  <a:lnTo>
                    <a:pt x="923" y="918"/>
                  </a:lnTo>
                  <a:lnTo>
                    <a:pt x="933" y="936"/>
                  </a:lnTo>
                  <a:lnTo>
                    <a:pt x="948" y="952"/>
                  </a:lnTo>
                  <a:lnTo>
                    <a:pt x="962" y="970"/>
                  </a:lnTo>
                  <a:lnTo>
                    <a:pt x="978" y="985"/>
                  </a:lnTo>
                  <a:lnTo>
                    <a:pt x="989" y="1003"/>
                  </a:lnTo>
                  <a:lnTo>
                    <a:pt x="987" y="1023"/>
                  </a:lnTo>
                  <a:lnTo>
                    <a:pt x="980" y="1041"/>
                  </a:lnTo>
                  <a:lnTo>
                    <a:pt x="977" y="1053"/>
                  </a:lnTo>
                  <a:lnTo>
                    <a:pt x="987" y="1063"/>
                  </a:lnTo>
                  <a:lnTo>
                    <a:pt x="1001" y="1070"/>
                  </a:lnTo>
                  <a:lnTo>
                    <a:pt x="1009" y="1087"/>
                  </a:lnTo>
                  <a:lnTo>
                    <a:pt x="1012" y="1109"/>
                  </a:lnTo>
                  <a:lnTo>
                    <a:pt x="1005" y="1127"/>
                  </a:lnTo>
                  <a:lnTo>
                    <a:pt x="994" y="1132"/>
                  </a:lnTo>
                  <a:lnTo>
                    <a:pt x="978" y="1127"/>
                  </a:lnTo>
                  <a:lnTo>
                    <a:pt x="963" y="1120"/>
                  </a:lnTo>
                  <a:lnTo>
                    <a:pt x="956" y="1109"/>
                  </a:lnTo>
                  <a:lnTo>
                    <a:pt x="951" y="1092"/>
                  </a:lnTo>
                  <a:lnTo>
                    <a:pt x="935" y="1081"/>
                  </a:lnTo>
                  <a:lnTo>
                    <a:pt x="917" y="1080"/>
                  </a:lnTo>
                  <a:lnTo>
                    <a:pt x="902" y="1085"/>
                  </a:lnTo>
                  <a:lnTo>
                    <a:pt x="887" y="1093"/>
                  </a:lnTo>
                  <a:lnTo>
                    <a:pt x="873" y="1081"/>
                  </a:lnTo>
                  <a:lnTo>
                    <a:pt x="862" y="1071"/>
                  </a:lnTo>
                  <a:lnTo>
                    <a:pt x="847" y="1073"/>
                  </a:lnTo>
                  <a:lnTo>
                    <a:pt x="830" y="1071"/>
                  </a:lnTo>
                  <a:lnTo>
                    <a:pt x="818" y="1063"/>
                  </a:lnTo>
                  <a:lnTo>
                    <a:pt x="809" y="1048"/>
                  </a:lnTo>
                  <a:lnTo>
                    <a:pt x="804" y="1035"/>
                  </a:lnTo>
                  <a:lnTo>
                    <a:pt x="794" y="1044"/>
                  </a:lnTo>
                  <a:lnTo>
                    <a:pt x="786" y="1053"/>
                  </a:lnTo>
                  <a:lnTo>
                    <a:pt x="782" y="1066"/>
                  </a:lnTo>
                  <a:lnTo>
                    <a:pt x="778" y="1080"/>
                  </a:lnTo>
                  <a:lnTo>
                    <a:pt x="768" y="1087"/>
                  </a:lnTo>
                  <a:lnTo>
                    <a:pt x="754" y="1092"/>
                  </a:lnTo>
                  <a:lnTo>
                    <a:pt x="742" y="1100"/>
                  </a:lnTo>
                  <a:lnTo>
                    <a:pt x="732" y="1111"/>
                  </a:lnTo>
                  <a:lnTo>
                    <a:pt x="714" y="1114"/>
                  </a:lnTo>
                  <a:lnTo>
                    <a:pt x="695" y="1109"/>
                  </a:lnTo>
                  <a:lnTo>
                    <a:pt x="675" y="1110"/>
                  </a:lnTo>
                  <a:lnTo>
                    <a:pt x="664" y="1116"/>
                  </a:lnTo>
                  <a:lnTo>
                    <a:pt x="650" y="1124"/>
                  </a:lnTo>
                  <a:lnTo>
                    <a:pt x="638" y="1138"/>
                  </a:lnTo>
                  <a:lnTo>
                    <a:pt x="625" y="1146"/>
                  </a:lnTo>
                  <a:lnTo>
                    <a:pt x="599" y="1150"/>
                  </a:lnTo>
                  <a:lnTo>
                    <a:pt x="578" y="1149"/>
                  </a:lnTo>
                  <a:lnTo>
                    <a:pt x="559" y="1142"/>
                  </a:lnTo>
                  <a:lnTo>
                    <a:pt x="537" y="1149"/>
                  </a:lnTo>
                  <a:lnTo>
                    <a:pt x="520" y="1157"/>
                  </a:lnTo>
                  <a:lnTo>
                    <a:pt x="506" y="1161"/>
                  </a:lnTo>
                  <a:lnTo>
                    <a:pt x="498" y="1147"/>
                  </a:lnTo>
                  <a:lnTo>
                    <a:pt x="488" y="1134"/>
                  </a:lnTo>
                  <a:lnTo>
                    <a:pt x="468" y="1131"/>
                  </a:lnTo>
                  <a:lnTo>
                    <a:pt x="443" y="1124"/>
                  </a:lnTo>
                  <a:lnTo>
                    <a:pt x="421" y="1118"/>
                  </a:lnTo>
                  <a:lnTo>
                    <a:pt x="404" y="1120"/>
                  </a:lnTo>
                  <a:lnTo>
                    <a:pt x="389" y="1117"/>
                  </a:lnTo>
                  <a:lnTo>
                    <a:pt x="383" y="1103"/>
                  </a:lnTo>
                  <a:lnTo>
                    <a:pt x="371" y="1096"/>
                  </a:lnTo>
                  <a:lnTo>
                    <a:pt x="360" y="1102"/>
                  </a:lnTo>
                  <a:lnTo>
                    <a:pt x="358" y="1116"/>
                  </a:lnTo>
                  <a:lnTo>
                    <a:pt x="361" y="1127"/>
                  </a:lnTo>
                  <a:lnTo>
                    <a:pt x="368" y="1145"/>
                  </a:lnTo>
                  <a:lnTo>
                    <a:pt x="364" y="1161"/>
                  </a:lnTo>
                  <a:lnTo>
                    <a:pt x="350" y="1179"/>
                  </a:lnTo>
                  <a:lnTo>
                    <a:pt x="333" y="1195"/>
                  </a:lnTo>
                  <a:lnTo>
                    <a:pt x="321" y="1211"/>
                  </a:lnTo>
                  <a:lnTo>
                    <a:pt x="310" y="1215"/>
                  </a:lnTo>
                  <a:lnTo>
                    <a:pt x="304" y="1202"/>
                  </a:lnTo>
                  <a:lnTo>
                    <a:pt x="296" y="1188"/>
                  </a:lnTo>
                  <a:lnTo>
                    <a:pt x="281" y="1179"/>
                  </a:lnTo>
                  <a:lnTo>
                    <a:pt x="279" y="1161"/>
                  </a:lnTo>
                  <a:lnTo>
                    <a:pt x="271" y="1145"/>
                  </a:lnTo>
                  <a:lnTo>
                    <a:pt x="260" y="1131"/>
                  </a:lnTo>
                  <a:lnTo>
                    <a:pt x="245" y="1123"/>
                  </a:lnTo>
                  <a:lnTo>
                    <a:pt x="236" y="1110"/>
                  </a:lnTo>
                  <a:lnTo>
                    <a:pt x="227" y="1100"/>
                  </a:lnTo>
                  <a:lnTo>
                    <a:pt x="207" y="1103"/>
                  </a:lnTo>
                  <a:lnTo>
                    <a:pt x="188" y="1111"/>
                  </a:lnTo>
                  <a:lnTo>
                    <a:pt x="169" y="1123"/>
                  </a:lnTo>
                  <a:lnTo>
                    <a:pt x="149" y="1127"/>
                  </a:lnTo>
                  <a:lnTo>
                    <a:pt x="133" y="1123"/>
                  </a:lnTo>
                  <a:lnTo>
                    <a:pt x="144" y="1114"/>
                  </a:lnTo>
                  <a:lnTo>
                    <a:pt x="158" y="1105"/>
                  </a:lnTo>
                  <a:lnTo>
                    <a:pt x="174" y="1093"/>
                  </a:lnTo>
                  <a:lnTo>
                    <a:pt x="192" y="1084"/>
                  </a:lnTo>
                  <a:lnTo>
                    <a:pt x="205" y="1074"/>
                  </a:lnTo>
                  <a:lnTo>
                    <a:pt x="214" y="1064"/>
                  </a:lnTo>
                  <a:lnTo>
                    <a:pt x="228" y="1059"/>
                  </a:lnTo>
                  <a:lnTo>
                    <a:pt x="236" y="1073"/>
                  </a:lnTo>
                  <a:lnTo>
                    <a:pt x="256" y="1069"/>
                  </a:lnTo>
                  <a:lnTo>
                    <a:pt x="271" y="1073"/>
                  </a:lnTo>
                  <a:lnTo>
                    <a:pt x="279" y="1062"/>
                  </a:lnTo>
                  <a:lnTo>
                    <a:pt x="271" y="1049"/>
                  </a:lnTo>
                  <a:lnTo>
                    <a:pt x="279" y="1038"/>
                  </a:lnTo>
                  <a:lnTo>
                    <a:pt x="274" y="1024"/>
                  </a:lnTo>
                  <a:lnTo>
                    <a:pt x="272" y="1008"/>
                  </a:lnTo>
                  <a:lnTo>
                    <a:pt x="279" y="987"/>
                  </a:lnTo>
                  <a:lnTo>
                    <a:pt x="275" y="967"/>
                  </a:lnTo>
                  <a:lnTo>
                    <a:pt x="281" y="948"/>
                  </a:lnTo>
                  <a:lnTo>
                    <a:pt x="286" y="927"/>
                  </a:lnTo>
                  <a:lnTo>
                    <a:pt x="281" y="906"/>
                  </a:lnTo>
                  <a:lnTo>
                    <a:pt x="277" y="887"/>
                  </a:lnTo>
                  <a:lnTo>
                    <a:pt x="274" y="861"/>
                  </a:lnTo>
                  <a:lnTo>
                    <a:pt x="267" y="841"/>
                  </a:lnTo>
                  <a:lnTo>
                    <a:pt x="261" y="827"/>
                  </a:lnTo>
                  <a:lnTo>
                    <a:pt x="264" y="814"/>
                  </a:lnTo>
                  <a:lnTo>
                    <a:pt x="275" y="803"/>
                  </a:lnTo>
                  <a:lnTo>
                    <a:pt x="290" y="791"/>
                  </a:lnTo>
                  <a:lnTo>
                    <a:pt x="296" y="775"/>
                  </a:lnTo>
                  <a:lnTo>
                    <a:pt x="310" y="762"/>
                  </a:lnTo>
                  <a:lnTo>
                    <a:pt x="329" y="753"/>
                  </a:lnTo>
                  <a:lnTo>
                    <a:pt x="337" y="737"/>
                  </a:lnTo>
                  <a:lnTo>
                    <a:pt x="335" y="722"/>
                  </a:lnTo>
                  <a:lnTo>
                    <a:pt x="322" y="708"/>
                  </a:lnTo>
                  <a:lnTo>
                    <a:pt x="329" y="696"/>
                  </a:lnTo>
                  <a:lnTo>
                    <a:pt x="344" y="699"/>
                  </a:lnTo>
                  <a:lnTo>
                    <a:pt x="353" y="711"/>
                  </a:lnTo>
                  <a:lnTo>
                    <a:pt x="368" y="711"/>
                  </a:lnTo>
                  <a:lnTo>
                    <a:pt x="373" y="699"/>
                  </a:lnTo>
                  <a:lnTo>
                    <a:pt x="361" y="686"/>
                  </a:lnTo>
                  <a:lnTo>
                    <a:pt x="360" y="671"/>
                  </a:lnTo>
                  <a:lnTo>
                    <a:pt x="367" y="650"/>
                  </a:lnTo>
                  <a:lnTo>
                    <a:pt x="373" y="622"/>
                  </a:lnTo>
                  <a:lnTo>
                    <a:pt x="367" y="600"/>
                  </a:lnTo>
                  <a:lnTo>
                    <a:pt x="355" y="584"/>
                  </a:lnTo>
                  <a:lnTo>
                    <a:pt x="342" y="574"/>
                  </a:lnTo>
                  <a:lnTo>
                    <a:pt x="333" y="560"/>
                  </a:lnTo>
                  <a:lnTo>
                    <a:pt x="328" y="544"/>
                  </a:lnTo>
                  <a:lnTo>
                    <a:pt x="322" y="530"/>
                  </a:lnTo>
                  <a:lnTo>
                    <a:pt x="311" y="520"/>
                  </a:lnTo>
                  <a:lnTo>
                    <a:pt x="297" y="513"/>
                  </a:lnTo>
                  <a:lnTo>
                    <a:pt x="283" y="502"/>
                  </a:lnTo>
                  <a:lnTo>
                    <a:pt x="275" y="488"/>
                  </a:lnTo>
                  <a:lnTo>
                    <a:pt x="277" y="469"/>
                  </a:lnTo>
                  <a:lnTo>
                    <a:pt x="289" y="452"/>
                  </a:lnTo>
                  <a:lnTo>
                    <a:pt x="292" y="435"/>
                  </a:lnTo>
                  <a:lnTo>
                    <a:pt x="286" y="419"/>
                  </a:lnTo>
                  <a:lnTo>
                    <a:pt x="289" y="404"/>
                  </a:lnTo>
                  <a:lnTo>
                    <a:pt x="295" y="381"/>
                  </a:lnTo>
                  <a:lnTo>
                    <a:pt x="289" y="366"/>
                  </a:lnTo>
                  <a:lnTo>
                    <a:pt x="275" y="368"/>
                  </a:lnTo>
                  <a:lnTo>
                    <a:pt x="264" y="377"/>
                  </a:lnTo>
                  <a:lnTo>
                    <a:pt x="256" y="393"/>
                  </a:lnTo>
                  <a:lnTo>
                    <a:pt x="242" y="398"/>
                  </a:lnTo>
                  <a:lnTo>
                    <a:pt x="235" y="386"/>
                  </a:lnTo>
                  <a:lnTo>
                    <a:pt x="229" y="373"/>
                  </a:lnTo>
                  <a:lnTo>
                    <a:pt x="220" y="370"/>
                  </a:lnTo>
                  <a:lnTo>
                    <a:pt x="213" y="361"/>
                  </a:lnTo>
                  <a:lnTo>
                    <a:pt x="207" y="350"/>
                  </a:lnTo>
                  <a:lnTo>
                    <a:pt x="214" y="332"/>
                  </a:lnTo>
                  <a:lnTo>
                    <a:pt x="210" y="322"/>
                  </a:lnTo>
                  <a:lnTo>
                    <a:pt x="192" y="327"/>
                  </a:lnTo>
                  <a:lnTo>
                    <a:pt x="177" y="322"/>
                  </a:lnTo>
                  <a:lnTo>
                    <a:pt x="173" y="308"/>
                  </a:lnTo>
                  <a:lnTo>
                    <a:pt x="171" y="290"/>
                  </a:lnTo>
                  <a:lnTo>
                    <a:pt x="159" y="284"/>
                  </a:lnTo>
                  <a:lnTo>
                    <a:pt x="148" y="293"/>
                  </a:lnTo>
                  <a:lnTo>
                    <a:pt x="137" y="305"/>
                  </a:lnTo>
                  <a:lnTo>
                    <a:pt x="128" y="298"/>
                  </a:lnTo>
                  <a:lnTo>
                    <a:pt x="119" y="289"/>
                  </a:lnTo>
                  <a:lnTo>
                    <a:pt x="105" y="291"/>
                  </a:lnTo>
                  <a:lnTo>
                    <a:pt x="95" y="301"/>
                  </a:lnTo>
                  <a:lnTo>
                    <a:pt x="99" y="319"/>
                  </a:lnTo>
                  <a:lnTo>
                    <a:pt x="98" y="332"/>
                  </a:lnTo>
                  <a:lnTo>
                    <a:pt x="90" y="340"/>
                  </a:lnTo>
                  <a:lnTo>
                    <a:pt x="76" y="334"/>
                  </a:lnTo>
                  <a:lnTo>
                    <a:pt x="69" y="350"/>
                  </a:lnTo>
                  <a:lnTo>
                    <a:pt x="59" y="365"/>
                  </a:lnTo>
                  <a:lnTo>
                    <a:pt x="44" y="373"/>
                  </a:lnTo>
                  <a:lnTo>
                    <a:pt x="27" y="366"/>
                  </a:lnTo>
                  <a:lnTo>
                    <a:pt x="12" y="351"/>
                  </a:lnTo>
                  <a:lnTo>
                    <a:pt x="11" y="330"/>
                  </a:lnTo>
                  <a:lnTo>
                    <a:pt x="18" y="314"/>
                  </a:lnTo>
                  <a:lnTo>
                    <a:pt x="14" y="294"/>
                  </a:lnTo>
                  <a:lnTo>
                    <a:pt x="7" y="278"/>
                  </a:lnTo>
                  <a:lnTo>
                    <a:pt x="0" y="255"/>
                  </a:lnTo>
                  <a:lnTo>
                    <a:pt x="4" y="240"/>
                  </a:lnTo>
                  <a:lnTo>
                    <a:pt x="14" y="228"/>
                  </a:lnTo>
                  <a:lnTo>
                    <a:pt x="22" y="210"/>
                  </a:lnTo>
                  <a:lnTo>
                    <a:pt x="19" y="194"/>
                  </a:lnTo>
                  <a:lnTo>
                    <a:pt x="18" y="176"/>
                  </a:lnTo>
                  <a:lnTo>
                    <a:pt x="29" y="168"/>
                  </a:lnTo>
                  <a:lnTo>
                    <a:pt x="43" y="165"/>
                  </a:lnTo>
                  <a:lnTo>
                    <a:pt x="56" y="175"/>
                  </a:lnTo>
                  <a:lnTo>
                    <a:pt x="66" y="163"/>
                  </a:lnTo>
                  <a:lnTo>
                    <a:pt x="81" y="157"/>
                  </a:lnTo>
                  <a:lnTo>
                    <a:pt x="98" y="161"/>
                  </a:lnTo>
                  <a:lnTo>
                    <a:pt x="115" y="165"/>
                  </a:lnTo>
                  <a:lnTo>
                    <a:pt x="130" y="161"/>
                  </a:lnTo>
                  <a:lnTo>
                    <a:pt x="137" y="147"/>
                  </a:lnTo>
                  <a:lnTo>
                    <a:pt x="138" y="132"/>
                  </a:lnTo>
                  <a:lnTo>
                    <a:pt x="148" y="122"/>
                  </a:lnTo>
                  <a:lnTo>
                    <a:pt x="160" y="124"/>
                  </a:lnTo>
                  <a:lnTo>
                    <a:pt x="173" y="122"/>
                  </a:lnTo>
                  <a:lnTo>
                    <a:pt x="176" y="110"/>
                  </a:lnTo>
                  <a:lnTo>
                    <a:pt x="184" y="99"/>
                  </a:lnTo>
                  <a:lnTo>
                    <a:pt x="196" y="95"/>
                  </a:lnTo>
                  <a:lnTo>
                    <a:pt x="202" y="81"/>
                  </a:lnTo>
                  <a:lnTo>
                    <a:pt x="196" y="71"/>
                  </a:lnTo>
                  <a:lnTo>
                    <a:pt x="198" y="59"/>
                  </a:lnTo>
                  <a:lnTo>
                    <a:pt x="212" y="57"/>
                  </a:lnTo>
                  <a:lnTo>
                    <a:pt x="225" y="68"/>
                  </a:lnTo>
                  <a:lnTo>
                    <a:pt x="241" y="73"/>
                  </a:lnTo>
                  <a:lnTo>
                    <a:pt x="249" y="59"/>
                  </a:lnTo>
                  <a:lnTo>
                    <a:pt x="253" y="46"/>
                  </a:lnTo>
                  <a:lnTo>
                    <a:pt x="264" y="39"/>
                  </a:lnTo>
                  <a:lnTo>
                    <a:pt x="274" y="25"/>
                  </a:lnTo>
                  <a:lnTo>
                    <a:pt x="275" y="1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9" name="Freeform 15"/>
            <p:cNvSpPr>
              <a:spLocks/>
            </p:cNvSpPr>
            <p:nvPr/>
          </p:nvSpPr>
          <p:spPr bwMode="gray">
            <a:xfrm>
              <a:off x="5138414" y="4415633"/>
              <a:ext cx="995618" cy="1122456"/>
            </a:xfrm>
            <a:custGeom>
              <a:avLst/>
              <a:gdLst>
                <a:gd name="T0" fmla="*/ 529 w 745"/>
                <a:gd name="T1" fmla="*/ 821 h 840"/>
                <a:gd name="T2" fmla="*/ 576 w 745"/>
                <a:gd name="T3" fmla="*/ 790 h 840"/>
                <a:gd name="T4" fmla="*/ 607 w 745"/>
                <a:gd name="T5" fmla="*/ 789 h 840"/>
                <a:gd name="T6" fmla="*/ 650 w 745"/>
                <a:gd name="T7" fmla="*/ 778 h 840"/>
                <a:gd name="T8" fmla="*/ 645 w 745"/>
                <a:gd name="T9" fmla="*/ 740 h 840"/>
                <a:gd name="T10" fmla="*/ 646 w 745"/>
                <a:gd name="T11" fmla="*/ 683 h 840"/>
                <a:gd name="T12" fmla="*/ 652 w 745"/>
                <a:gd name="T13" fmla="*/ 622 h 840"/>
                <a:gd name="T14" fmla="*/ 638 w 745"/>
                <a:gd name="T15" fmla="*/ 557 h 840"/>
                <a:gd name="T16" fmla="*/ 646 w 745"/>
                <a:gd name="T17" fmla="*/ 519 h 840"/>
                <a:gd name="T18" fmla="*/ 681 w 745"/>
                <a:gd name="T19" fmla="*/ 478 h 840"/>
                <a:gd name="T20" fmla="*/ 706 w 745"/>
                <a:gd name="T21" fmla="*/ 438 h 840"/>
                <a:gd name="T22" fmla="*/ 715 w 745"/>
                <a:gd name="T23" fmla="*/ 415 h 840"/>
                <a:gd name="T24" fmla="*/ 744 w 745"/>
                <a:gd name="T25" fmla="*/ 415 h 840"/>
                <a:gd name="T26" fmla="*/ 738 w 745"/>
                <a:gd name="T27" fmla="*/ 366 h 840"/>
                <a:gd name="T28" fmla="*/ 726 w 745"/>
                <a:gd name="T29" fmla="*/ 300 h 840"/>
                <a:gd name="T30" fmla="*/ 699 w 745"/>
                <a:gd name="T31" fmla="*/ 260 h 840"/>
                <a:gd name="T32" fmla="*/ 668 w 745"/>
                <a:gd name="T33" fmla="*/ 229 h 840"/>
                <a:gd name="T34" fmla="*/ 648 w 745"/>
                <a:gd name="T35" fmla="*/ 185 h 840"/>
                <a:gd name="T36" fmla="*/ 657 w 745"/>
                <a:gd name="T37" fmla="*/ 135 h 840"/>
                <a:gd name="T38" fmla="*/ 660 w 745"/>
                <a:gd name="T39" fmla="*/ 82 h 840"/>
                <a:gd name="T40" fmla="*/ 627 w 745"/>
                <a:gd name="T41" fmla="*/ 109 h 840"/>
                <a:gd name="T42" fmla="*/ 600 w 745"/>
                <a:gd name="T43" fmla="*/ 89 h 840"/>
                <a:gd name="T44" fmla="*/ 578 w 745"/>
                <a:gd name="T45" fmla="*/ 66 h 840"/>
                <a:gd name="T46" fmla="*/ 563 w 745"/>
                <a:gd name="T47" fmla="*/ 43 h 840"/>
                <a:gd name="T48" fmla="*/ 542 w 745"/>
                <a:gd name="T49" fmla="*/ 6 h 840"/>
                <a:gd name="T50" fmla="*/ 508 w 745"/>
                <a:gd name="T51" fmla="*/ 21 h 840"/>
                <a:gd name="T52" fmla="*/ 476 w 745"/>
                <a:gd name="T53" fmla="*/ 7 h 840"/>
                <a:gd name="T54" fmla="*/ 469 w 745"/>
                <a:gd name="T55" fmla="*/ 48 h 840"/>
                <a:gd name="T56" fmla="*/ 440 w 745"/>
                <a:gd name="T57" fmla="*/ 66 h 840"/>
                <a:gd name="T58" fmla="*/ 404 w 745"/>
                <a:gd name="T59" fmla="*/ 92 h 840"/>
                <a:gd name="T60" fmla="*/ 391 w 745"/>
                <a:gd name="T61" fmla="*/ 115 h 840"/>
                <a:gd name="T62" fmla="*/ 358 w 745"/>
                <a:gd name="T63" fmla="*/ 129 h 840"/>
                <a:gd name="T64" fmla="*/ 335 w 745"/>
                <a:gd name="T65" fmla="*/ 122 h 840"/>
                <a:gd name="T66" fmla="*/ 332 w 745"/>
                <a:gd name="T67" fmla="*/ 89 h 840"/>
                <a:gd name="T68" fmla="*/ 297 w 745"/>
                <a:gd name="T69" fmla="*/ 81 h 840"/>
                <a:gd name="T70" fmla="*/ 254 w 745"/>
                <a:gd name="T71" fmla="*/ 79 h 840"/>
                <a:gd name="T72" fmla="*/ 254 w 745"/>
                <a:gd name="T73" fmla="*/ 124 h 840"/>
                <a:gd name="T74" fmla="*/ 259 w 745"/>
                <a:gd name="T75" fmla="*/ 179 h 840"/>
                <a:gd name="T76" fmla="*/ 235 w 745"/>
                <a:gd name="T77" fmla="*/ 226 h 840"/>
                <a:gd name="T78" fmla="*/ 220 w 745"/>
                <a:gd name="T79" fmla="*/ 271 h 840"/>
                <a:gd name="T80" fmla="*/ 196 w 745"/>
                <a:gd name="T81" fmla="*/ 325 h 840"/>
                <a:gd name="T82" fmla="*/ 155 w 745"/>
                <a:gd name="T83" fmla="*/ 356 h 840"/>
                <a:gd name="T84" fmla="*/ 126 w 745"/>
                <a:gd name="T85" fmla="*/ 397 h 840"/>
                <a:gd name="T86" fmla="*/ 92 w 745"/>
                <a:gd name="T87" fmla="*/ 442 h 840"/>
                <a:gd name="T88" fmla="*/ 68 w 745"/>
                <a:gd name="T89" fmla="*/ 527 h 840"/>
                <a:gd name="T90" fmla="*/ 39 w 745"/>
                <a:gd name="T91" fmla="*/ 595 h 840"/>
                <a:gd name="T92" fmla="*/ 29 w 745"/>
                <a:gd name="T93" fmla="*/ 660 h 840"/>
                <a:gd name="T94" fmla="*/ 4 w 745"/>
                <a:gd name="T95" fmla="*/ 733 h 840"/>
                <a:gd name="T96" fmla="*/ 8 w 745"/>
                <a:gd name="T97" fmla="*/ 819 h 840"/>
                <a:gd name="T98" fmla="*/ 36 w 745"/>
                <a:gd name="T99" fmla="*/ 805 h 840"/>
                <a:gd name="T100" fmla="*/ 59 w 745"/>
                <a:gd name="T101" fmla="*/ 834 h 840"/>
                <a:gd name="T102" fmla="*/ 112 w 745"/>
                <a:gd name="T103" fmla="*/ 832 h 840"/>
                <a:gd name="T104" fmla="*/ 160 w 745"/>
                <a:gd name="T105" fmla="*/ 823 h 840"/>
                <a:gd name="T106" fmla="*/ 207 w 745"/>
                <a:gd name="T107" fmla="*/ 821 h 840"/>
                <a:gd name="T108" fmla="*/ 245 w 745"/>
                <a:gd name="T109" fmla="*/ 809 h 840"/>
                <a:gd name="T110" fmla="*/ 266 w 745"/>
                <a:gd name="T111" fmla="*/ 782 h 840"/>
                <a:gd name="T112" fmla="*/ 227 w 745"/>
                <a:gd name="T113" fmla="*/ 758 h 840"/>
                <a:gd name="T114" fmla="*/ 270 w 745"/>
                <a:gd name="T115" fmla="*/ 736 h 840"/>
                <a:gd name="T116" fmla="*/ 321 w 745"/>
                <a:gd name="T117" fmla="*/ 750 h 840"/>
                <a:gd name="T118" fmla="*/ 331 w 745"/>
                <a:gd name="T119" fmla="*/ 796 h 840"/>
                <a:gd name="T120" fmla="*/ 376 w 745"/>
                <a:gd name="T121" fmla="*/ 786 h 840"/>
                <a:gd name="T122" fmla="*/ 416 w 745"/>
                <a:gd name="T123" fmla="*/ 818 h 840"/>
                <a:gd name="T124" fmla="*/ 469 w 745"/>
                <a:gd name="T125" fmla="*/ 81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5" h="840">
                  <a:moveTo>
                    <a:pt x="504" y="839"/>
                  </a:moveTo>
                  <a:lnTo>
                    <a:pt x="515" y="830"/>
                  </a:lnTo>
                  <a:lnTo>
                    <a:pt x="529" y="821"/>
                  </a:lnTo>
                  <a:lnTo>
                    <a:pt x="545" y="809"/>
                  </a:lnTo>
                  <a:lnTo>
                    <a:pt x="563" y="800"/>
                  </a:lnTo>
                  <a:lnTo>
                    <a:pt x="576" y="790"/>
                  </a:lnTo>
                  <a:lnTo>
                    <a:pt x="585" y="780"/>
                  </a:lnTo>
                  <a:lnTo>
                    <a:pt x="599" y="775"/>
                  </a:lnTo>
                  <a:lnTo>
                    <a:pt x="607" y="789"/>
                  </a:lnTo>
                  <a:lnTo>
                    <a:pt x="627" y="785"/>
                  </a:lnTo>
                  <a:lnTo>
                    <a:pt x="642" y="789"/>
                  </a:lnTo>
                  <a:lnTo>
                    <a:pt x="650" y="778"/>
                  </a:lnTo>
                  <a:lnTo>
                    <a:pt x="642" y="765"/>
                  </a:lnTo>
                  <a:lnTo>
                    <a:pt x="650" y="754"/>
                  </a:lnTo>
                  <a:lnTo>
                    <a:pt x="645" y="740"/>
                  </a:lnTo>
                  <a:lnTo>
                    <a:pt x="643" y="724"/>
                  </a:lnTo>
                  <a:lnTo>
                    <a:pt x="650" y="703"/>
                  </a:lnTo>
                  <a:lnTo>
                    <a:pt x="646" y="683"/>
                  </a:lnTo>
                  <a:lnTo>
                    <a:pt x="652" y="664"/>
                  </a:lnTo>
                  <a:lnTo>
                    <a:pt x="657" y="643"/>
                  </a:lnTo>
                  <a:lnTo>
                    <a:pt x="652" y="622"/>
                  </a:lnTo>
                  <a:lnTo>
                    <a:pt x="648" y="603"/>
                  </a:lnTo>
                  <a:lnTo>
                    <a:pt x="645" y="577"/>
                  </a:lnTo>
                  <a:lnTo>
                    <a:pt x="638" y="557"/>
                  </a:lnTo>
                  <a:lnTo>
                    <a:pt x="632" y="543"/>
                  </a:lnTo>
                  <a:lnTo>
                    <a:pt x="635" y="530"/>
                  </a:lnTo>
                  <a:lnTo>
                    <a:pt x="646" y="519"/>
                  </a:lnTo>
                  <a:lnTo>
                    <a:pt x="661" y="507"/>
                  </a:lnTo>
                  <a:lnTo>
                    <a:pt x="667" y="491"/>
                  </a:lnTo>
                  <a:lnTo>
                    <a:pt x="681" y="478"/>
                  </a:lnTo>
                  <a:lnTo>
                    <a:pt x="700" y="469"/>
                  </a:lnTo>
                  <a:lnTo>
                    <a:pt x="708" y="453"/>
                  </a:lnTo>
                  <a:lnTo>
                    <a:pt x="706" y="438"/>
                  </a:lnTo>
                  <a:lnTo>
                    <a:pt x="693" y="424"/>
                  </a:lnTo>
                  <a:lnTo>
                    <a:pt x="700" y="412"/>
                  </a:lnTo>
                  <a:lnTo>
                    <a:pt x="715" y="415"/>
                  </a:lnTo>
                  <a:lnTo>
                    <a:pt x="724" y="427"/>
                  </a:lnTo>
                  <a:lnTo>
                    <a:pt x="739" y="427"/>
                  </a:lnTo>
                  <a:lnTo>
                    <a:pt x="744" y="415"/>
                  </a:lnTo>
                  <a:lnTo>
                    <a:pt x="732" y="402"/>
                  </a:lnTo>
                  <a:lnTo>
                    <a:pt x="731" y="387"/>
                  </a:lnTo>
                  <a:lnTo>
                    <a:pt x="738" y="366"/>
                  </a:lnTo>
                  <a:lnTo>
                    <a:pt x="744" y="338"/>
                  </a:lnTo>
                  <a:lnTo>
                    <a:pt x="738" y="316"/>
                  </a:lnTo>
                  <a:lnTo>
                    <a:pt x="726" y="300"/>
                  </a:lnTo>
                  <a:lnTo>
                    <a:pt x="713" y="290"/>
                  </a:lnTo>
                  <a:lnTo>
                    <a:pt x="704" y="276"/>
                  </a:lnTo>
                  <a:lnTo>
                    <a:pt x="699" y="260"/>
                  </a:lnTo>
                  <a:lnTo>
                    <a:pt x="693" y="246"/>
                  </a:lnTo>
                  <a:lnTo>
                    <a:pt x="682" y="236"/>
                  </a:lnTo>
                  <a:lnTo>
                    <a:pt x="668" y="229"/>
                  </a:lnTo>
                  <a:lnTo>
                    <a:pt x="654" y="218"/>
                  </a:lnTo>
                  <a:lnTo>
                    <a:pt x="646" y="204"/>
                  </a:lnTo>
                  <a:lnTo>
                    <a:pt x="648" y="185"/>
                  </a:lnTo>
                  <a:lnTo>
                    <a:pt x="660" y="168"/>
                  </a:lnTo>
                  <a:lnTo>
                    <a:pt x="663" y="151"/>
                  </a:lnTo>
                  <a:lnTo>
                    <a:pt x="657" y="135"/>
                  </a:lnTo>
                  <a:lnTo>
                    <a:pt x="660" y="120"/>
                  </a:lnTo>
                  <a:lnTo>
                    <a:pt x="666" y="97"/>
                  </a:lnTo>
                  <a:lnTo>
                    <a:pt x="660" y="82"/>
                  </a:lnTo>
                  <a:lnTo>
                    <a:pt x="646" y="84"/>
                  </a:lnTo>
                  <a:lnTo>
                    <a:pt x="635" y="93"/>
                  </a:lnTo>
                  <a:lnTo>
                    <a:pt x="627" y="109"/>
                  </a:lnTo>
                  <a:lnTo>
                    <a:pt x="613" y="114"/>
                  </a:lnTo>
                  <a:lnTo>
                    <a:pt x="606" y="102"/>
                  </a:lnTo>
                  <a:lnTo>
                    <a:pt x="600" y="89"/>
                  </a:lnTo>
                  <a:lnTo>
                    <a:pt x="591" y="86"/>
                  </a:lnTo>
                  <a:lnTo>
                    <a:pt x="584" y="77"/>
                  </a:lnTo>
                  <a:lnTo>
                    <a:pt x="578" y="66"/>
                  </a:lnTo>
                  <a:lnTo>
                    <a:pt x="585" y="48"/>
                  </a:lnTo>
                  <a:lnTo>
                    <a:pt x="581" y="38"/>
                  </a:lnTo>
                  <a:lnTo>
                    <a:pt x="563" y="43"/>
                  </a:lnTo>
                  <a:lnTo>
                    <a:pt x="548" y="38"/>
                  </a:lnTo>
                  <a:lnTo>
                    <a:pt x="544" y="24"/>
                  </a:lnTo>
                  <a:lnTo>
                    <a:pt x="542" y="6"/>
                  </a:lnTo>
                  <a:lnTo>
                    <a:pt x="530" y="0"/>
                  </a:lnTo>
                  <a:lnTo>
                    <a:pt x="519" y="9"/>
                  </a:lnTo>
                  <a:lnTo>
                    <a:pt x="508" y="21"/>
                  </a:lnTo>
                  <a:lnTo>
                    <a:pt x="499" y="14"/>
                  </a:lnTo>
                  <a:lnTo>
                    <a:pt x="490" y="5"/>
                  </a:lnTo>
                  <a:lnTo>
                    <a:pt x="476" y="7"/>
                  </a:lnTo>
                  <a:lnTo>
                    <a:pt x="466" y="17"/>
                  </a:lnTo>
                  <a:lnTo>
                    <a:pt x="470" y="35"/>
                  </a:lnTo>
                  <a:lnTo>
                    <a:pt x="469" y="48"/>
                  </a:lnTo>
                  <a:lnTo>
                    <a:pt x="461" y="56"/>
                  </a:lnTo>
                  <a:lnTo>
                    <a:pt x="447" y="50"/>
                  </a:lnTo>
                  <a:lnTo>
                    <a:pt x="440" y="66"/>
                  </a:lnTo>
                  <a:lnTo>
                    <a:pt x="430" y="81"/>
                  </a:lnTo>
                  <a:lnTo>
                    <a:pt x="415" y="89"/>
                  </a:lnTo>
                  <a:lnTo>
                    <a:pt x="404" y="92"/>
                  </a:lnTo>
                  <a:lnTo>
                    <a:pt x="408" y="104"/>
                  </a:lnTo>
                  <a:lnTo>
                    <a:pt x="405" y="117"/>
                  </a:lnTo>
                  <a:lnTo>
                    <a:pt x="391" y="115"/>
                  </a:lnTo>
                  <a:lnTo>
                    <a:pt x="378" y="110"/>
                  </a:lnTo>
                  <a:lnTo>
                    <a:pt x="368" y="118"/>
                  </a:lnTo>
                  <a:lnTo>
                    <a:pt x="358" y="129"/>
                  </a:lnTo>
                  <a:lnTo>
                    <a:pt x="347" y="139"/>
                  </a:lnTo>
                  <a:lnTo>
                    <a:pt x="336" y="135"/>
                  </a:lnTo>
                  <a:lnTo>
                    <a:pt x="335" y="122"/>
                  </a:lnTo>
                  <a:lnTo>
                    <a:pt x="339" y="109"/>
                  </a:lnTo>
                  <a:lnTo>
                    <a:pt x="346" y="95"/>
                  </a:lnTo>
                  <a:lnTo>
                    <a:pt x="332" y="89"/>
                  </a:lnTo>
                  <a:lnTo>
                    <a:pt x="321" y="96"/>
                  </a:lnTo>
                  <a:lnTo>
                    <a:pt x="310" y="89"/>
                  </a:lnTo>
                  <a:lnTo>
                    <a:pt x="297" y="81"/>
                  </a:lnTo>
                  <a:lnTo>
                    <a:pt x="284" y="88"/>
                  </a:lnTo>
                  <a:lnTo>
                    <a:pt x="268" y="85"/>
                  </a:lnTo>
                  <a:lnTo>
                    <a:pt x="254" y="79"/>
                  </a:lnTo>
                  <a:lnTo>
                    <a:pt x="246" y="89"/>
                  </a:lnTo>
                  <a:lnTo>
                    <a:pt x="253" y="107"/>
                  </a:lnTo>
                  <a:lnTo>
                    <a:pt x="254" y="124"/>
                  </a:lnTo>
                  <a:lnTo>
                    <a:pt x="260" y="145"/>
                  </a:lnTo>
                  <a:lnTo>
                    <a:pt x="266" y="163"/>
                  </a:lnTo>
                  <a:lnTo>
                    <a:pt x="259" y="179"/>
                  </a:lnTo>
                  <a:lnTo>
                    <a:pt x="256" y="197"/>
                  </a:lnTo>
                  <a:lnTo>
                    <a:pt x="246" y="208"/>
                  </a:lnTo>
                  <a:lnTo>
                    <a:pt x="235" y="226"/>
                  </a:lnTo>
                  <a:lnTo>
                    <a:pt x="232" y="244"/>
                  </a:lnTo>
                  <a:lnTo>
                    <a:pt x="230" y="261"/>
                  </a:lnTo>
                  <a:lnTo>
                    <a:pt x="220" y="271"/>
                  </a:lnTo>
                  <a:lnTo>
                    <a:pt x="206" y="286"/>
                  </a:lnTo>
                  <a:lnTo>
                    <a:pt x="202" y="308"/>
                  </a:lnTo>
                  <a:lnTo>
                    <a:pt x="196" y="325"/>
                  </a:lnTo>
                  <a:lnTo>
                    <a:pt x="182" y="336"/>
                  </a:lnTo>
                  <a:lnTo>
                    <a:pt x="166" y="344"/>
                  </a:lnTo>
                  <a:lnTo>
                    <a:pt x="155" y="356"/>
                  </a:lnTo>
                  <a:lnTo>
                    <a:pt x="146" y="374"/>
                  </a:lnTo>
                  <a:lnTo>
                    <a:pt x="141" y="390"/>
                  </a:lnTo>
                  <a:lnTo>
                    <a:pt x="126" y="397"/>
                  </a:lnTo>
                  <a:lnTo>
                    <a:pt x="112" y="408"/>
                  </a:lnTo>
                  <a:lnTo>
                    <a:pt x="99" y="423"/>
                  </a:lnTo>
                  <a:lnTo>
                    <a:pt x="92" y="442"/>
                  </a:lnTo>
                  <a:lnTo>
                    <a:pt x="84" y="469"/>
                  </a:lnTo>
                  <a:lnTo>
                    <a:pt x="74" y="499"/>
                  </a:lnTo>
                  <a:lnTo>
                    <a:pt x="68" y="527"/>
                  </a:lnTo>
                  <a:lnTo>
                    <a:pt x="62" y="557"/>
                  </a:lnTo>
                  <a:lnTo>
                    <a:pt x="52" y="577"/>
                  </a:lnTo>
                  <a:lnTo>
                    <a:pt x="39" y="595"/>
                  </a:lnTo>
                  <a:lnTo>
                    <a:pt x="29" y="614"/>
                  </a:lnTo>
                  <a:lnTo>
                    <a:pt x="23" y="634"/>
                  </a:lnTo>
                  <a:lnTo>
                    <a:pt x="29" y="660"/>
                  </a:lnTo>
                  <a:lnTo>
                    <a:pt x="22" y="686"/>
                  </a:lnTo>
                  <a:lnTo>
                    <a:pt x="12" y="706"/>
                  </a:lnTo>
                  <a:lnTo>
                    <a:pt x="4" y="733"/>
                  </a:lnTo>
                  <a:lnTo>
                    <a:pt x="0" y="765"/>
                  </a:lnTo>
                  <a:lnTo>
                    <a:pt x="7" y="797"/>
                  </a:lnTo>
                  <a:lnTo>
                    <a:pt x="8" y="819"/>
                  </a:lnTo>
                  <a:lnTo>
                    <a:pt x="15" y="827"/>
                  </a:lnTo>
                  <a:lnTo>
                    <a:pt x="22" y="812"/>
                  </a:lnTo>
                  <a:lnTo>
                    <a:pt x="36" y="805"/>
                  </a:lnTo>
                  <a:lnTo>
                    <a:pt x="47" y="808"/>
                  </a:lnTo>
                  <a:lnTo>
                    <a:pt x="54" y="823"/>
                  </a:lnTo>
                  <a:lnTo>
                    <a:pt x="59" y="834"/>
                  </a:lnTo>
                  <a:lnTo>
                    <a:pt x="76" y="827"/>
                  </a:lnTo>
                  <a:lnTo>
                    <a:pt x="97" y="825"/>
                  </a:lnTo>
                  <a:lnTo>
                    <a:pt x="112" y="832"/>
                  </a:lnTo>
                  <a:lnTo>
                    <a:pt x="127" y="836"/>
                  </a:lnTo>
                  <a:lnTo>
                    <a:pt x="145" y="834"/>
                  </a:lnTo>
                  <a:lnTo>
                    <a:pt x="160" y="823"/>
                  </a:lnTo>
                  <a:lnTo>
                    <a:pt x="174" y="815"/>
                  </a:lnTo>
                  <a:lnTo>
                    <a:pt x="191" y="812"/>
                  </a:lnTo>
                  <a:lnTo>
                    <a:pt x="207" y="821"/>
                  </a:lnTo>
                  <a:lnTo>
                    <a:pt x="221" y="830"/>
                  </a:lnTo>
                  <a:lnTo>
                    <a:pt x="236" y="825"/>
                  </a:lnTo>
                  <a:lnTo>
                    <a:pt x="245" y="809"/>
                  </a:lnTo>
                  <a:lnTo>
                    <a:pt x="260" y="805"/>
                  </a:lnTo>
                  <a:lnTo>
                    <a:pt x="274" y="800"/>
                  </a:lnTo>
                  <a:lnTo>
                    <a:pt x="266" y="782"/>
                  </a:lnTo>
                  <a:lnTo>
                    <a:pt x="245" y="779"/>
                  </a:lnTo>
                  <a:lnTo>
                    <a:pt x="228" y="773"/>
                  </a:lnTo>
                  <a:lnTo>
                    <a:pt x="227" y="758"/>
                  </a:lnTo>
                  <a:lnTo>
                    <a:pt x="236" y="749"/>
                  </a:lnTo>
                  <a:lnTo>
                    <a:pt x="250" y="742"/>
                  </a:lnTo>
                  <a:lnTo>
                    <a:pt x="270" y="736"/>
                  </a:lnTo>
                  <a:lnTo>
                    <a:pt x="290" y="736"/>
                  </a:lnTo>
                  <a:lnTo>
                    <a:pt x="308" y="739"/>
                  </a:lnTo>
                  <a:lnTo>
                    <a:pt x="321" y="750"/>
                  </a:lnTo>
                  <a:lnTo>
                    <a:pt x="317" y="769"/>
                  </a:lnTo>
                  <a:lnTo>
                    <a:pt x="321" y="785"/>
                  </a:lnTo>
                  <a:lnTo>
                    <a:pt x="331" y="796"/>
                  </a:lnTo>
                  <a:lnTo>
                    <a:pt x="340" y="785"/>
                  </a:lnTo>
                  <a:lnTo>
                    <a:pt x="358" y="780"/>
                  </a:lnTo>
                  <a:lnTo>
                    <a:pt x="376" y="786"/>
                  </a:lnTo>
                  <a:lnTo>
                    <a:pt x="394" y="793"/>
                  </a:lnTo>
                  <a:lnTo>
                    <a:pt x="405" y="804"/>
                  </a:lnTo>
                  <a:lnTo>
                    <a:pt x="416" y="818"/>
                  </a:lnTo>
                  <a:lnTo>
                    <a:pt x="430" y="819"/>
                  </a:lnTo>
                  <a:lnTo>
                    <a:pt x="450" y="809"/>
                  </a:lnTo>
                  <a:lnTo>
                    <a:pt x="469" y="816"/>
                  </a:lnTo>
                  <a:lnTo>
                    <a:pt x="488" y="827"/>
                  </a:lnTo>
                  <a:lnTo>
                    <a:pt x="504" y="83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gray">
            <a:xfrm>
              <a:off x="5278736" y="3490944"/>
              <a:ext cx="768430" cy="1111766"/>
            </a:xfrm>
            <a:custGeom>
              <a:avLst/>
              <a:gdLst>
                <a:gd name="T0" fmla="*/ 547 w 575"/>
                <a:gd name="T1" fmla="*/ 385 h 832"/>
                <a:gd name="T2" fmla="*/ 513 w 575"/>
                <a:gd name="T3" fmla="*/ 370 h 832"/>
                <a:gd name="T4" fmla="*/ 505 w 575"/>
                <a:gd name="T5" fmla="*/ 321 h 832"/>
                <a:gd name="T6" fmla="*/ 520 w 575"/>
                <a:gd name="T7" fmla="*/ 281 h 832"/>
                <a:gd name="T8" fmla="*/ 549 w 575"/>
                <a:gd name="T9" fmla="*/ 248 h 832"/>
                <a:gd name="T10" fmla="*/ 551 w 575"/>
                <a:gd name="T11" fmla="*/ 198 h 832"/>
                <a:gd name="T12" fmla="*/ 566 w 575"/>
                <a:gd name="T13" fmla="*/ 159 h 832"/>
                <a:gd name="T14" fmla="*/ 536 w 575"/>
                <a:gd name="T15" fmla="*/ 131 h 832"/>
                <a:gd name="T16" fmla="*/ 508 w 575"/>
                <a:gd name="T17" fmla="*/ 88 h 832"/>
                <a:gd name="T18" fmla="*/ 473 w 575"/>
                <a:gd name="T19" fmla="*/ 97 h 832"/>
                <a:gd name="T20" fmla="*/ 460 w 575"/>
                <a:gd name="T21" fmla="*/ 119 h 832"/>
                <a:gd name="T22" fmla="*/ 415 w 575"/>
                <a:gd name="T23" fmla="*/ 116 h 832"/>
                <a:gd name="T24" fmla="*/ 429 w 575"/>
                <a:gd name="T25" fmla="*/ 76 h 832"/>
                <a:gd name="T26" fmla="*/ 437 w 575"/>
                <a:gd name="T27" fmla="*/ 19 h 832"/>
                <a:gd name="T28" fmla="*/ 400 w 575"/>
                <a:gd name="T29" fmla="*/ 0 h 832"/>
                <a:gd name="T30" fmla="*/ 353 w 575"/>
                <a:gd name="T31" fmla="*/ 26 h 832"/>
                <a:gd name="T32" fmla="*/ 331 w 575"/>
                <a:gd name="T33" fmla="*/ 82 h 832"/>
                <a:gd name="T34" fmla="*/ 304 w 575"/>
                <a:gd name="T35" fmla="*/ 72 h 832"/>
                <a:gd name="T36" fmla="*/ 273 w 575"/>
                <a:gd name="T37" fmla="*/ 87 h 832"/>
                <a:gd name="T38" fmla="*/ 246 w 575"/>
                <a:gd name="T39" fmla="*/ 125 h 832"/>
                <a:gd name="T40" fmla="*/ 205 w 575"/>
                <a:gd name="T41" fmla="*/ 125 h 832"/>
                <a:gd name="T42" fmla="*/ 221 w 575"/>
                <a:gd name="T43" fmla="*/ 156 h 832"/>
                <a:gd name="T44" fmla="*/ 213 w 575"/>
                <a:gd name="T45" fmla="*/ 202 h 832"/>
                <a:gd name="T46" fmla="*/ 177 w 575"/>
                <a:gd name="T47" fmla="*/ 213 h 832"/>
                <a:gd name="T48" fmla="*/ 166 w 575"/>
                <a:gd name="T49" fmla="*/ 269 h 832"/>
                <a:gd name="T50" fmla="*/ 123 w 575"/>
                <a:gd name="T51" fmla="*/ 288 h 832"/>
                <a:gd name="T52" fmla="*/ 90 w 575"/>
                <a:gd name="T53" fmla="*/ 327 h 832"/>
                <a:gd name="T54" fmla="*/ 83 w 575"/>
                <a:gd name="T55" fmla="*/ 372 h 832"/>
                <a:gd name="T56" fmla="*/ 53 w 575"/>
                <a:gd name="T57" fmla="*/ 413 h 832"/>
                <a:gd name="T58" fmla="*/ 66 w 575"/>
                <a:gd name="T59" fmla="*/ 464 h 832"/>
                <a:gd name="T60" fmla="*/ 66 w 575"/>
                <a:gd name="T61" fmla="*/ 517 h 832"/>
                <a:gd name="T62" fmla="*/ 19 w 575"/>
                <a:gd name="T63" fmla="*/ 558 h 832"/>
                <a:gd name="T64" fmla="*/ 4 w 575"/>
                <a:gd name="T65" fmla="*/ 608 h 832"/>
                <a:gd name="T66" fmla="*/ 44 w 575"/>
                <a:gd name="T67" fmla="*/ 608 h 832"/>
                <a:gd name="T68" fmla="*/ 97 w 575"/>
                <a:gd name="T69" fmla="*/ 589 h 832"/>
                <a:gd name="T70" fmla="*/ 136 w 575"/>
                <a:gd name="T71" fmla="*/ 627 h 832"/>
                <a:gd name="T72" fmla="*/ 144 w 575"/>
                <a:gd name="T73" fmla="*/ 681 h 832"/>
                <a:gd name="T74" fmla="*/ 144 w 575"/>
                <a:gd name="T75" fmla="*/ 719 h 832"/>
                <a:gd name="T76" fmla="*/ 144 w 575"/>
                <a:gd name="T77" fmla="*/ 759 h 832"/>
                <a:gd name="T78" fmla="*/ 180 w 575"/>
                <a:gd name="T79" fmla="*/ 780 h 832"/>
                <a:gd name="T80" fmla="*/ 216 w 575"/>
                <a:gd name="T81" fmla="*/ 789 h 832"/>
                <a:gd name="T82" fmla="*/ 234 w 575"/>
                <a:gd name="T83" fmla="*/ 801 h 832"/>
                <a:gd name="T84" fmla="*/ 244 w 575"/>
                <a:gd name="T85" fmla="*/ 831 h 832"/>
                <a:gd name="T86" fmla="*/ 273 w 575"/>
                <a:gd name="T87" fmla="*/ 802 h 832"/>
                <a:gd name="T88" fmla="*/ 303 w 575"/>
                <a:gd name="T89" fmla="*/ 798 h 832"/>
                <a:gd name="T90" fmla="*/ 293 w 575"/>
                <a:gd name="T91" fmla="*/ 774 h 832"/>
                <a:gd name="T92" fmla="*/ 284 w 575"/>
                <a:gd name="T93" fmla="*/ 722 h 832"/>
                <a:gd name="T94" fmla="*/ 266 w 575"/>
                <a:gd name="T95" fmla="*/ 663 h 832"/>
                <a:gd name="T96" fmla="*/ 288 w 575"/>
                <a:gd name="T97" fmla="*/ 618 h 832"/>
                <a:gd name="T98" fmla="*/ 295 w 575"/>
                <a:gd name="T99" fmla="*/ 576 h 832"/>
                <a:gd name="T100" fmla="*/ 332 w 575"/>
                <a:gd name="T101" fmla="*/ 571 h 832"/>
                <a:gd name="T102" fmla="*/ 381 w 575"/>
                <a:gd name="T103" fmla="*/ 573 h 832"/>
                <a:gd name="T104" fmla="*/ 404 w 575"/>
                <a:gd name="T105" fmla="*/ 540 h 832"/>
                <a:gd name="T106" fmla="*/ 439 w 575"/>
                <a:gd name="T107" fmla="*/ 530 h 832"/>
                <a:gd name="T108" fmla="*/ 462 w 575"/>
                <a:gd name="T109" fmla="*/ 503 h 832"/>
                <a:gd name="T110" fmla="*/ 464 w 575"/>
                <a:gd name="T111" fmla="*/ 467 h 832"/>
                <a:gd name="T112" fmla="*/ 507 w 575"/>
                <a:gd name="T113" fmla="*/ 481 h 832"/>
                <a:gd name="T114" fmla="*/ 530 w 575"/>
                <a:gd name="T115" fmla="*/ 447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5" h="832">
                  <a:moveTo>
                    <a:pt x="541" y="420"/>
                  </a:moveTo>
                  <a:lnTo>
                    <a:pt x="538" y="400"/>
                  </a:lnTo>
                  <a:lnTo>
                    <a:pt x="547" y="385"/>
                  </a:lnTo>
                  <a:lnTo>
                    <a:pt x="540" y="370"/>
                  </a:lnTo>
                  <a:lnTo>
                    <a:pt x="529" y="363"/>
                  </a:lnTo>
                  <a:lnTo>
                    <a:pt x="513" y="370"/>
                  </a:lnTo>
                  <a:lnTo>
                    <a:pt x="504" y="357"/>
                  </a:lnTo>
                  <a:lnTo>
                    <a:pt x="500" y="339"/>
                  </a:lnTo>
                  <a:lnTo>
                    <a:pt x="505" y="321"/>
                  </a:lnTo>
                  <a:lnTo>
                    <a:pt x="513" y="307"/>
                  </a:lnTo>
                  <a:lnTo>
                    <a:pt x="527" y="294"/>
                  </a:lnTo>
                  <a:lnTo>
                    <a:pt x="520" y="281"/>
                  </a:lnTo>
                  <a:lnTo>
                    <a:pt x="523" y="263"/>
                  </a:lnTo>
                  <a:lnTo>
                    <a:pt x="534" y="252"/>
                  </a:lnTo>
                  <a:lnTo>
                    <a:pt x="549" y="248"/>
                  </a:lnTo>
                  <a:lnTo>
                    <a:pt x="545" y="235"/>
                  </a:lnTo>
                  <a:lnTo>
                    <a:pt x="543" y="209"/>
                  </a:lnTo>
                  <a:lnTo>
                    <a:pt x="551" y="198"/>
                  </a:lnTo>
                  <a:lnTo>
                    <a:pt x="565" y="190"/>
                  </a:lnTo>
                  <a:lnTo>
                    <a:pt x="574" y="176"/>
                  </a:lnTo>
                  <a:lnTo>
                    <a:pt x="566" y="159"/>
                  </a:lnTo>
                  <a:lnTo>
                    <a:pt x="551" y="159"/>
                  </a:lnTo>
                  <a:lnTo>
                    <a:pt x="544" y="143"/>
                  </a:lnTo>
                  <a:lnTo>
                    <a:pt x="536" y="131"/>
                  </a:lnTo>
                  <a:lnTo>
                    <a:pt x="522" y="123"/>
                  </a:lnTo>
                  <a:lnTo>
                    <a:pt x="513" y="102"/>
                  </a:lnTo>
                  <a:lnTo>
                    <a:pt x="508" y="88"/>
                  </a:lnTo>
                  <a:lnTo>
                    <a:pt x="498" y="86"/>
                  </a:lnTo>
                  <a:lnTo>
                    <a:pt x="489" y="86"/>
                  </a:lnTo>
                  <a:lnTo>
                    <a:pt x="473" y="97"/>
                  </a:lnTo>
                  <a:lnTo>
                    <a:pt x="468" y="105"/>
                  </a:lnTo>
                  <a:lnTo>
                    <a:pt x="464" y="111"/>
                  </a:lnTo>
                  <a:lnTo>
                    <a:pt x="460" y="119"/>
                  </a:lnTo>
                  <a:lnTo>
                    <a:pt x="444" y="125"/>
                  </a:lnTo>
                  <a:lnTo>
                    <a:pt x="429" y="119"/>
                  </a:lnTo>
                  <a:lnTo>
                    <a:pt x="415" y="116"/>
                  </a:lnTo>
                  <a:lnTo>
                    <a:pt x="412" y="104"/>
                  </a:lnTo>
                  <a:lnTo>
                    <a:pt x="422" y="93"/>
                  </a:lnTo>
                  <a:lnTo>
                    <a:pt x="429" y="76"/>
                  </a:lnTo>
                  <a:lnTo>
                    <a:pt x="432" y="54"/>
                  </a:lnTo>
                  <a:lnTo>
                    <a:pt x="430" y="34"/>
                  </a:lnTo>
                  <a:lnTo>
                    <a:pt x="437" y="19"/>
                  </a:lnTo>
                  <a:lnTo>
                    <a:pt x="430" y="10"/>
                  </a:lnTo>
                  <a:lnTo>
                    <a:pt x="417" y="1"/>
                  </a:lnTo>
                  <a:lnTo>
                    <a:pt x="400" y="0"/>
                  </a:lnTo>
                  <a:lnTo>
                    <a:pt x="382" y="1"/>
                  </a:lnTo>
                  <a:lnTo>
                    <a:pt x="365" y="12"/>
                  </a:lnTo>
                  <a:lnTo>
                    <a:pt x="353" y="26"/>
                  </a:lnTo>
                  <a:lnTo>
                    <a:pt x="346" y="47"/>
                  </a:lnTo>
                  <a:lnTo>
                    <a:pt x="338" y="69"/>
                  </a:lnTo>
                  <a:lnTo>
                    <a:pt x="331" y="82"/>
                  </a:lnTo>
                  <a:lnTo>
                    <a:pt x="321" y="91"/>
                  </a:lnTo>
                  <a:lnTo>
                    <a:pt x="313" y="83"/>
                  </a:lnTo>
                  <a:lnTo>
                    <a:pt x="304" y="72"/>
                  </a:lnTo>
                  <a:lnTo>
                    <a:pt x="295" y="70"/>
                  </a:lnTo>
                  <a:lnTo>
                    <a:pt x="281" y="75"/>
                  </a:lnTo>
                  <a:lnTo>
                    <a:pt x="273" y="87"/>
                  </a:lnTo>
                  <a:lnTo>
                    <a:pt x="266" y="104"/>
                  </a:lnTo>
                  <a:lnTo>
                    <a:pt x="259" y="118"/>
                  </a:lnTo>
                  <a:lnTo>
                    <a:pt x="246" y="125"/>
                  </a:lnTo>
                  <a:lnTo>
                    <a:pt x="232" y="119"/>
                  </a:lnTo>
                  <a:lnTo>
                    <a:pt x="217" y="115"/>
                  </a:lnTo>
                  <a:lnTo>
                    <a:pt x="205" y="125"/>
                  </a:lnTo>
                  <a:lnTo>
                    <a:pt x="202" y="140"/>
                  </a:lnTo>
                  <a:lnTo>
                    <a:pt x="210" y="152"/>
                  </a:lnTo>
                  <a:lnTo>
                    <a:pt x="221" y="156"/>
                  </a:lnTo>
                  <a:lnTo>
                    <a:pt x="227" y="173"/>
                  </a:lnTo>
                  <a:lnTo>
                    <a:pt x="221" y="190"/>
                  </a:lnTo>
                  <a:lnTo>
                    <a:pt x="213" y="202"/>
                  </a:lnTo>
                  <a:lnTo>
                    <a:pt x="201" y="206"/>
                  </a:lnTo>
                  <a:lnTo>
                    <a:pt x="185" y="205"/>
                  </a:lnTo>
                  <a:lnTo>
                    <a:pt x="177" y="213"/>
                  </a:lnTo>
                  <a:lnTo>
                    <a:pt x="179" y="234"/>
                  </a:lnTo>
                  <a:lnTo>
                    <a:pt x="170" y="246"/>
                  </a:lnTo>
                  <a:lnTo>
                    <a:pt x="166" y="269"/>
                  </a:lnTo>
                  <a:lnTo>
                    <a:pt x="158" y="280"/>
                  </a:lnTo>
                  <a:lnTo>
                    <a:pt x="143" y="287"/>
                  </a:lnTo>
                  <a:lnTo>
                    <a:pt x="123" y="288"/>
                  </a:lnTo>
                  <a:lnTo>
                    <a:pt x="107" y="296"/>
                  </a:lnTo>
                  <a:lnTo>
                    <a:pt x="95" y="310"/>
                  </a:lnTo>
                  <a:lnTo>
                    <a:pt x="90" y="327"/>
                  </a:lnTo>
                  <a:lnTo>
                    <a:pt x="83" y="342"/>
                  </a:lnTo>
                  <a:lnTo>
                    <a:pt x="72" y="349"/>
                  </a:lnTo>
                  <a:lnTo>
                    <a:pt x="83" y="372"/>
                  </a:lnTo>
                  <a:lnTo>
                    <a:pt x="77" y="390"/>
                  </a:lnTo>
                  <a:lnTo>
                    <a:pt x="65" y="399"/>
                  </a:lnTo>
                  <a:lnTo>
                    <a:pt x="53" y="413"/>
                  </a:lnTo>
                  <a:lnTo>
                    <a:pt x="51" y="428"/>
                  </a:lnTo>
                  <a:lnTo>
                    <a:pt x="58" y="447"/>
                  </a:lnTo>
                  <a:lnTo>
                    <a:pt x="66" y="464"/>
                  </a:lnTo>
                  <a:lnTo>
                    <a:pt x="76" y="483"/>
                  </a:lnTo>
                  <a:lnTo>
                    <a:pt x="75" y="499"/>
                  </a:lnTo>
                  <a:lnTo>
                    <a:pt x="66" y="517"/>
                  </a:lnTo>
                  <a:lnTo>
                    <a:pt x="53" y="530"/>
                  </a:lnTo>
                  <a:lnTo>
                    <a:pt x="35" y="540"/>
                  </a:lnTo>
                  <a:lnTo>
                    <a:pt x="19" y="558"/>
                  </a:lnTo>
                  <a:lnTo>
                    <a:pt x="8" y="569"/>
                  </a:lnTo>
                  <a:lnTo>
                    <a:pt x="0" y="586"/>
                  </a:lnTo>
                  <a:lnTo>
                    <a:pt x="4" y="608"/>
                  </a:lnTo>
                  <a:lnTo>
                    <a:pt x="11" y="619"/>
                  </a:lnTo>
                  <a:lnTo>
                    <a:pt x="26" y="616"/>
                  </a:lnTo>
                  <a:lnTo>
                    <a:pt x="44" y="608"/>
                  </a:lnTo>
                  <a:lnTo>
                    <a:pt x="62" y="604"/>
                  </a:lnTo>
                  <a:lnTo>
                    <a:pt x="77" y="593"/>
                  </a:lnTo>
                  <a:lnTo>
                    <a:pt x="97" y="589"/>
                  </a:lnTo>
                  <a:lnTo>
                    <a:pt x="109" y="595"/>
                  </a:lnTo>
                  <a:lnTo>
                    <a:pt x="122" y="608"/>
                  </a:lnTo>
                  <a:lnTo>
                    <a:pt x="136" y="627"/>
                  </a:lnTo>
                  <a:lnTo>
                    <a:pt x="140" y="641"/>
                  </a:lnTo>
                  <a:lnTo>
                    <a:pt x="138" y="659"/>
                  </a:lnTo>
                  <a:lnTo>
                    <a:pt x="144" y="681"/>
                  </a:lnTo>
                  <a:lnTo>
                    <a:pt x="152" y="691"/>
                  </a:lnTo>
                  <a:lnTo>
                    <a:pt x="155" y="706"/>
                  </a:lnTo>
                  <a:lnTo>
                    <a:pt x="144" y="719"/>
                  </a:lnTo>
                  <a:lnTo>
                    <a:pt x="138" y="734"/>
                  </a:lnTo>
                  <a:lnTo>
                    <a:pt x="148" y="748"/>
                  </a:lnTo>
                  <a:lnTo>
                    <a:pt x="144" y="759"/>
                  </a:lnTo>
                  <a:lnTo>
                    <a:pt x="147" y="770"/>
                  </a:lnTo>
                  <a:lnTo>
                    <a:pt x="162" y="776"/>
                  </a:lnTo>
                  <a:lnTo>
                    <a:pt x="180" y="780"/>
                  </a:lnTo>
                  <a:lnTo>
                    <a:pt x="192" y="773"/>
                  </a:lnTo>
                  <a:lnTo>
                    <a:pt x="202" y="780"/>
                  </a:lnTo>
                  <a:lnTo>
                    <a:pt x="216" y="789"/>
                  </a:lnTo>
                  <a:lnTo>
                    <a:pt x="227" y="781"/>
                  </a:lnTo>
                  <a:lnTo>
                    <a:pt x="241" y="787"/>
                  </a:lnTo>
                  <a:lnTo>
                    <a:pt x="234" y="801"/>
                  </a:lnTo>
                  <a:lnTo>
                    <a:pt x="230" y="814"/>
                  </a:lnTo>
                  <a:lnTo>
                    <a:pt x="231" y="828"/>
                  </a:lnTo>
                  <a:lnTo>
                    <a:pt x="244" y="831"/>
                  </a:lnTo>
                  <a:lnTo>
                    <a:pt x="252" y="823"/>
                  </a:lnTo>
                  <a:lnTo>
                    <a:pt x="263" y="810"/>
                  </a:lnTo>
                  <a:lnTo>
                    <a:pt x="273" y="802"/>
                  </a:lnTo>
                  <a:lnTo>
                    <a:pt x="288" y="807"/>
                  </a:lnTo>
                  <a:lnTo>
                    <a:pt x="300" y="809"/>
                  </a:lnTo>
                  <a:lnTo>
                    <a:pt x="303" y="798"/>
                  </a:lnTo>
                  <a:lnTo>
                    <a:pt x="299" y="783"/>
                  </a:lnTo>
                  <a:lnTo>
                    <a:pt x="311" y="781"/>
                  </a:lnTo>
                  <a:lnTo>
                    <a:pt x="293" y="774"/>
                  </a:lnTo>
                  <a:lnTo>
                    <a:pt x="278" y="759"/>
                  </a:lnTo>
                  <a:lnTo>
                    <a:pt x="277" y="738"/>
                  </a:lnTo>
                  <a:lnTo>
                    <a:pt x="284" y="722"/>
                  </a:lnTo>
                  <a:lnTo>
                    <a:pt x="280" y="702"/>
                  </a:lnTo>
                  <a:lnTo>
                    <a:pt x="273" y="686"/>
                  </a:lnTo>
                  <a:lnTo>
                    <a:pt x="266" y="663"/>
                  </a:lnTo>
                  <a:lnTo>
                    <a:pt x="270" y="648"/>
                  </a:lnTo>
                  <a:lnTo>
                    <a:pt x="280" y="636"/>
                  </a:lnTo>
                  <a:lnTo>
                    <a:pt x="288" y="618"/>
                  </a:lnTo>
                  <a:lnTo>
                    <a:pt x="285" y="602"/>
                  </a:lnTo>
                  <a:lnTo>
                    <a:pt x="284" y="584"/>
                  </a:lnTo>
                  <a:lnTo>
                    <a:pt x="295" y="576"/>
                  </a:lnTo>
                  <a:lnTo>
                    <a:pt x="309" y="573"/>
                  </a:lnTo>
                  <a:lnTo>
                    <a:pt x="322" y="583"/>
                  </a:lnTo>
                  <a:lnTo>
                    <a:pt x="332" y="571"/>
                  </a:lnTo>
                  <a:lnTo>
                    <a:pt x="347" y="565"/>
                  </a:lnTo>
                  <a:lnTo>
                    <a:pt x="364" y="569"/>
                  </a:lnTo>
                  <a:lnTo>
                    <a:pt x="381" y="573"/>
                  </a:lnTo>
                  <a:lnTo>
                    <a:pt x="396" y="569"/>
                  </a:lnTo>
                  <a:lnTo>
                    <a:pt x="403" y="555"/>
                  </a:lnTo>
                  <a:lnTo>
                    <a:pt x="404" y="540"/>
                  </a:lnTo>
                  <a:lnTo>
                    <a:pt x="414" y="530"/>
                  </a:lnTo>
                  <a:lnTo>
                    <a:pt x="426" y="532"/>
                  </a:lnTo>
                  <a:lnTo>
                    <a:pt x="439" y="530"/>
                  </a:lnTo>
                  <a:lnTo>
                    <a:pt x="442" y="518"/>
                  </a:lnTo>
                  <a:lnTo>
                    <a:pt x="450" y="507"/>
                  </a:lnTo>
                  <a:lnTo>
                    <a:pt x="462" y="503"/>
                  </a:lnTo>
                  <a:lnTo>
                    <a:pt x="468" y="489"/>
                  </a:lnTo>
                  <a:lnTo>
                    <a:pt x="462" y="479"/>
                  </a:lnTo>
                  <a:lnTo>
                    <a:pt x="464" y="467"/>
                  </a:lnTo>
                  <a:lnTo>
                    <a:pt x="478" y="465"/>
                  </a:lnTo>
                  <a:lnTo>
                    <a:pt x="491" y="476"/>
                  </a:lnTo>
                  <a:lnTo>
                    <a:pt x="507" y="481"/>
                  </a:lnTo>
                  <a:lnTo>
                    <a:pt x="515" y="467"/>
                  </a:lnTo>
                  <a:lnTo>
                    <a:pt x="519" y="454"/>
                  </a:lnTo>
                  <a:lnTo>
                    <a:pt x="530" y="447"/>
                  </a:lnTo>
                  <a:lnTo>
                    <a:pt x="540" y="433"/>
                  </a:lnTo>
                  <a:lnTo>
                    <a:pt x="541" y="42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1" name="Freeform 17"/>
            <p:cNvSpPr>
              <a:spLocks/>
            </p:cNvSpPr>
            <p:nvPr/>
          </p:nvSpPr>
          <p:spPr bwMode="gray">
            <a:xfrm>
              <a:off x="4734821" y="3842379"/>
              <a:ext cx="760412" cy="995511"/>
            </a:xfrm>
            <a:custGeom>
              <a:avLst/>
              <a:gdLst>
                <a:gd name="T0" fmla="*/ 484 w 569"/>
                <a:gd name="T1" fmla="*/ 127 h 745"/>
                <a:gd name="T2" fmla="*/ 458 w 569"/>
                <a:gd name="T3" fmla="*/ 165 h 745"/>
                <a:gd name="T4" fmla="*/ 483 w 569"/>
                <a:gd name="T5" fmla="*/ 220 h 745"/>
                <a:gd name="T6" fmla="*/ 460 w 569"/>
                <a:gd name="T7" fmla="*/ 267 h 745"/>
                <a:gd name="T8" fmla="*/ 415 w 569"/>
                <a:gd name="T9" fmla="*/ 306 h 745"/>
                <a:gd name="T10" fmla="*/ 418 w 569"/>
                <a:gd name="T11" fmla="*/ 356 h 745"/>
                <a:gd name="T12" fmla="*/ 469 w 569"/>
                <a:gd name="T13" fmla="*/ 341 h 745"/>
                <a:gd name="T14" fmla="*/ 516 w 569"/>
                <a:gd name="T15" fmla="*/ 332 h 745"/>
                <a:gd name="T16" fmla="*/ 547 w 569"/>
                <a:gd name="T17" fmla="*/ 378 h 745"/>
                <a:gd name="T18" fmla="*/ 559 w 569"/>
                <a:gd name="T19" fmla="*/ 428 h 745"/>
                <a:gd name="T20" fmla="*/ 545 w 569"/>
                <a:gd name="T21" fmla="*/ 471 h 745"/>
                <a:gd name="T22" fmla="*/ 555 w 569"/>
                <a:gd name="T23" fmla="*/ 510 h 745"/>
                <a:gd name="T24" fmla="*/ 558 w 569"/>
                <a:gd name="T25" fmla="*/ 551 h 745"/>
                <a:gd name="T26" fmla="*/ 562 w 569"/>
                <a:gd name="T27" fmla="*/ 605 h 745"/>
                <a:gd name="T28" fmla="*/ 540 w 569"/>
                <a:gd name="T29" fmla="*/ 657 h 745"/>
                <a:gd name="T30" fmla="*/ 520 w 569"/>
                <a:gd name="T31" fmla="*/ 701 h 745"/>
                <a:gd name="T32" fmla="*/ 502 w 569"/>
                <a:gd name="T33" fmla="*/ 744 h 745"/>
                <a:gd name="T34" fmla="*/ 453 w 569"/>
                <a:gd name="T35" fmla="*/ 711 h 745"/>
                <a:gd name="T36" fmla="*/ 414 w 569"/>
                <a:gd name="T37" fmla="*/ 712 h 745"/>
                <a:gd name="T38" fmla="*/ 357 w 569"/>
                <a:gd name="T39" fmla="*/ 707 h 745"/>
                <a:gd name="T40" fmla="*/ 311 w 569"/>
                <a:gd name="T41" fmla="*/ 682 h 745"/>
                <a:gd name="T42" fmla="*/ 277 w 569"/>
                <a:gd name="T43" fmla="*/ 650 h 745"/>
                <a:gd name="T44" fmla="*/ 280 w 569"/>
                <a:gd name="T45" fmla="*/ 598 h 745"/>
                <a:gd name="T46" fmla="*/ 269 w 569"/>
                <a:gd name="T47" fmla="*/ 550 h 745"/>
                <a:gd name="T48" fmla="*/ 264 w 569"/>
                <a:gd name="T49" fmla="*/ 504 h 745"/>
                <a:gd name="T50" fmla="*/ 220 w 569"/>
                <a:gd name="T51" fmla="*/ 481 h 745"/>
                <a:gd name="T52" fmla="*/ 165 w 569"/>
                <a:gd name="T53" fmla="*/ 482 h 745"/>
                <a:gd name="T54" fmla="*/ 126 w 569"/>
                <a:gd name="T55" fmla="*/ 515 h 745"/>
                <a:gd name="T56" fmla="*/ 82 w 569"/>
                <a:gd name="T57" fmla="*/ 495 h 745"/>
                <a:gd name="T58" fmla="*/ 57 w 569"/>
                <a:gd name="T59" fmla="*/ 482 h 745"/>
                <a:gd name="T60" fmla="*/ 84 w 569"/>
                <a:gd name="T61" fmla="*/ 439 h 745"/>
                <a:gd name="T62" fmla="*/ 66 w 569"/>
                <a:gd name="T63" fmla="*/ 396 h 745"/>
                <a:gd name="T64" fmla="*/ 24 w 569"/>
                <a:gd name="T65" fmla="*/ 357 h 745"/>
                <a:gd name="T66" fmla="*/ 0 w 569"/>
                <a:gd name="T67" fmla="*/ 303 h 745"/>
                <a:gd name="T68" fmla="*/ 21 w 569"/>
                <a:gd name="T69" fmla="*/ 245 h 745"/>
                <a:gd name="T70" fmla="*/ 62 w 569"/>
                <a:gd name="T71" fmla="*/ 212 h 745"/>
                <a:gd name="T72" fmla="*/ 104 w 569"/>
                <a:gd name="T73" fmla="*/ 226 h 745"/>
                <a:gd name="T74" fmla="*/ 134 w 569"/>
                <a:gd name="T75" fmla="*/ 211 h 745"/>
                <a:gd name="T76" fmla="*/ 154 w 569"/>
                <a:gd name="T77" fmla="*/ 180 h 745"/>
                <a:gd name="T78" fmla="*/ 205 w 569"/>
                <a:gd name="T79" fmla="*/ 155 h 745"/>
                <a:gd name="T80" fmla="*/ 242 w 569"/>
                <a:gd name="T81" fmla="*/ 125 h 745"/>
                <a:gd name="T82" fmla="*/ 289 w 569"/>
                <a:gd name="T83" fmla="*/ 112 h 745"/>
                <a:gd name="T84" fmla="*/ 335 w 569"/>
                <a:gd name="T85" fmla="*/ 105 h 745"/>
                <a:gd name="T86" fmla="*/ 375 w 569"/>
                <a:gd name="T87" fmla="*/ 78 h 745"/>
                <a:gd name="T88" fmla="*/ 400 w 569"/>
                <a:gd name="T89" fmla="*/ 40 h 745"/>
                <a:gd name="T90" fmla="*/ 415 w 569"/>
                <a:gd name="T91" fmla="*/ 0 h 745"/>
                <a:gd name="T92" fmla="*/ 446 w 569"/>
                <a:gd name="T93" fmla="*/ 37 h 745"/>
                <a:gd name="T94" fmla="*/ 480 w 569"/>
                <a:gd name="T95" fmla="*/ 86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9" h="745">
                  <a:moveTo>
                    <a:pt x="480" y="86"/>
                  </a:moveTo>
                  <a:lnTo>
                    <a:pt x="490" y="109"/>
                  </a:lnTo>
                  <a:lnTo>
                    <a:pt x="484" y="127"/>
                  </a:lnTo>
                  <a:lnTo>
                    <a:pt x="472" y="136"/>
                  </a:lnTo>
                  <a:lnTo>
                    <a:pt x="460" y="150"/>
                  </a:lnTo>
                  <a:lnTo>
                    <a:pt x="458" y="165"/>
                  </a:lnTo>
                  <a:lnTo>
                    <a:pt x="465" y="184"/>
                  </a:lnTo>
                  <a:lnTo>
                    <a:pt x="473" y="201"/>
                  </a:lnTo>
                  <a:lnTo>
                    <a:pt x="483" y="220"/>
                  </a:lnTo>
                  <a:lnTo>
                    <a:pt x="482" y="236"/>
                  </a:lnTo>
                  <a:lnTo>
                    <a:pt x="473" y="254"/>
                  </a:lnTo>
                  <a:lnTo>
                    <a:pt x="460" y="267"/>
                  </a:lnTo>
                  <a:lnTo>
                    <a:pt x="442" y="277"/>
                  </a:lnTo>
                  <a:lnTo>
                    <a:pt x="426" y="295"/>
                  </a:lnTo>
                  <a:lnTo>
                    <a:pt x="415" y="306"/>
                  </a:lnTo>
                  <a:lnTo>
                    <a:pt x="407" y="323"/>
                  </a:lnTo>
                  <a:lnTo>
                    <a:pt x="411" y="345"/>
                  </a:lnTo>
                  <a:lnTo>
                    <a:pt x="418" y="356"/>
                  </a:lnTo>
                  <a:lnTo>
                    <a:pt x="433" y="353"/>
                  </a:lnTo>
                  <a:lnTo>
                    <a:pt x="451" y="345"/>
                  </a:lnTo>
                  <a:lnTo>
                    <a:pt x="469" y="341"/>
                  </a:lnTo>
                  <a:lnTo>
                    <a:pt x="484" y="330"/>
                  </a:lnTo>
                  <a:lnTo>
                    <a:pt x="504" y="326"/>
                  </a:lnTo>
                  <a:lnTo>
                    <a:pt x="516" y="332"/>
                  </a:lnTo>
                  <a:lnTo>
                    <a:pt x="529" y="345"/>
                  </a:lnTo>
                  <a:lnTo>
                    <a:pt x="543" y="364"/>
                  </a:lnTo>
                  <a:lnTo>
                    <a:pt x="547" y="378"/>
                  </a:lnTo>
                  <a:lnTo>
                    <a:pt x="545" y="396"/>
                  </a:lnTo>
                  <a:lnTo>
                    <a:pt x="551" y="418"/>
                  </a:lnTo>
                  <a:lnTo>
                    <a:pt x="559" y="428"/>
                  </a:lnTo>
                  <a:lnTo>
                    <a:pt x="562" y="443"/>
                  </a:lnTo>
                  <a:lnTo>
                    <a:pt x="551" y="456"/>
                  </a:lnTo>
                  <a:lnTo>
                    <a:pt x="545" y="471"/>
                  </a:lnTo>
                  <a:lnTo>
                    <a:pt x="555" y="485"/>
                  </a:lnTo>
                  <a:lnTo>
                    <a:pt x="551" y="496"/>
                  </a:lnTo>
                  <a:lnTo>
                    <a:pt x="555" y="510"/>
                  </a:lnTo>
                  <a:lnTo>
                    <a:pt x="552" y="521"/>
                  </a:lnTo>
                  <a:lnTo>
                    <a:pt x="555" y="533"/>
                  </a:lnTo>
                  <a:lnTo>
                    <a:pt x="558" y="551"/>
                  </a:lnTo>
                  <a:lnTo>
                    <a:pt x="562" y="572"/>
                  </a:lnTo>
                  <a:lnTo>
                    <a:pt x="568" y="590"/>
                  </a:lnTo>
                  <a:lnTo>
                    <a:pt x="562" y="605"/>
                  </a:lnTo>
                  <a:lnTo>
                    <a:pt x="562" y="622"/>
                  </a:lnTo>
                  <a:lnTo>
                    <a:pt x="550" y="637"/>
                  </a:lnTo>
                  <a:lnTo>
                    <a:pt x="540" y="657"/>
                  </a:lnTo>
                  <a:lnTo>
                    <a:pt x="536" y="672"/>
                  </a:lnTo>
                  <a:lnTo>
                    <a:pt x="532" y="690"/>
                  </a:lnTo>
                  <a:lnTo>
                    <a:pt x="520" y="701"/>
                  </a:lnTo>
                  <a:lnTo>
                    <a:pt x="508" y="715"/>
                  </a:lnTo>
                  <a:lnTo>
                    <a:pt x="505" y="730"/>
                  </a:lnTo>
                  <a:lnTo>
                    <a:pt x="502" y="744"/>
                  </a:lnTo>
                  <a:lnTo>
                    <a:pt x="487" y="736"/>
                  </a:lnTo>
                  <a:lnTo>
                    <a:pt x="469" y="726"/>
                  </a:lnTo>
                  <a:lnTo>
                    <a:pt x="453" y="711"/>
                  </a:lnTo>
                  <a:lnTo>
                    <a:pt x="437" y="702"/>
                  </a:lnTo>
                  <a:lnTo>
                    <a:pt x="426" y="709"/>
                  </a:lnTo>
                  <a:lnTo>
                    <a:pt x="414" y="712"/>
                  </a:lnTo>
                  <a:lnTo>
                    <a:pt x="397" y="707"/>
                  </a:lnTo>
                  <a:lnTo>
                    <a:pt x="381" y="709"/>
                  </a:lnTo>
                  <a:lnTo>
                    <a:pt x="357" y="707"/>
                  </a:lnTo>
                  <a:lnTo>
                    <a:pt x="335" y="700"/>
                  </a:lnTo>
                  <a:lnTo>
                    <a:pt x="320" y="694"/>
                  </a:lnTo>
                  <a:lnTo>
                    <a:pt x="311" y="682"/>
                  </a:lnTo>
                  <a:lnTo>
                    <a:pt x="299" y="668"/>
                  </a:lnTo>
                  <a:lnTo>
                    <a:pt x="285" y="665"/>
                  </a:lnTo>
                  <a:lnTo>
                    <a:pt x="277" y="650"/>
                  </a:lnTo>
                  <a:lnTo>
                    <a:pt x="273" y="629"/>
                  </a:lnTo>
                  <a:lnTo>
                    <a:pt x="271" y="612"/>
                  </a:lnTo>
                  <a:lnTo>
                    <a:pt x="280" y="598"/>
                  </a:lnTo>
                  <a:lnTo>
                    <a:pt x="280" y="580"/>
                  </a:lnTo>
                  <a:lnTo>
                    <a:pt x="273" y="568"/>
                  </a:lnTo>
                  <a:lnTo>
                    <a:pt x="269" y="550"/>
                  </a:lnTo>
                  <a:lnTo>
                    <a:pt x="275" y="533"/>
                  </a:lnTo>
                  <a:lnTo>
                    <a:pt x="274" y="517"/>
                  </a:lnTo>
                  <a:lnTo>
                    <a:pt x="264" y="504"/>
                  </a:lnTo>
                  <a:lnTo>
                    <a:pt x="249" y="497"/>
                  </a:lnTo>
                  <a:lnTo>
                    <a:pt x="231" y="492"/>
                  </a:lnTo>
                  <a:lnTo>
                    <a:pt x="220" y="481"/>
                  </a:lnTo>
                  <a:lnTo>
                    <a:pt x="203" y="472"/>
                  </a:lnTo>
                  <a:lnTo>
                    <a:pt x="181" y="478"/>
                  </a:lnTo>
                  <a:lnTo>
                    <a:pt x="165" y="482"/>
                  </a:lnTo>
                  <a:lnTo>
                    <a:pt x="152" y="496"/>
                  </a:lnTo>
                  <a:lnTo>
                    <a:pt x="143" y="508"/>
                  </a:lnTo>
                  <a:lnTo>
                    <a:pt x="126" y="515"/>
                  </a:lnTo>
                  <a:lnTo>
                    <a:pt x="111" y="511"/>
                  </a:lnTo>
                  <a:lnTo>
                    <a:pt x="97" y="503"/>
                  </a:lnTo>
                  <a:lnTo>
                    <a:pt x="82" y="495"/>
                  </a:lnTo>
                  <a:lnTo>
                    <a:pt x="65" y="496"/>
                  </a:lnTo>
                  <a:lnTo>
                    <a:pt x="50" y="500"/>
                  </a:lnTo>
                  <a:lnTo>
                    <a:pt x="57" y="482"/>
                  </a:lnTo>
                  <a:lnTo>
                    <a:pt x="66" y="465"/>
                  </a:lnTo>
                  <a:lnTo>
                    <a:pt x="73" y="452"/>
                  </a:lnTo>
                  <a:lnTo>
                    <a:pt x="84" y="439"/>
                  </a:lnTo>
                  <a:lnTo>
                    <a:pt x="89" y="417"/>
                  </a:lnTo>
                  <a:lnTo>
                    <a:pt x="80" y="403"/>
                  </a:lnTo>
                  <a:lnTo>
                    <a:pt x="66" y="396"/>
                  </a:lnTo>
                  <a:lnTo>
                    <a:pt x="54" y="382"/>
                  </a:lnTo>
                  <a:lnTo>
                    <a:pt x="39" y="367"/>
                  </a:lnTo>
                  <a:lnTo>
                    <a:pt x="24" y="357"/>
                  </a:lnTo>
                  <a:lnTo>
                    <a:pt x="12" y="344"/>
                  </a:lnTo>
                  <a:lnTo>
                    <a:pt x="7" y="326"/>
                  </a:lnTo>
                  <a:lnTo>
                    <a:pt x="0" y="303"/>
                  </a:lnTo>
                  <a:lnTo>
                    <a:pt x="3" y="281"/>
                  </a:lnTo>
                  <a:lnTo>
                    <a:pt x="8" y="259"/>
                  </a:lnTo>
                  <a:lnTo>
                    <a:pt x="21" y="245"/>
                  </a:lnTo>
                  <a:lnTo>
                    <a:pt x="39" y="237"/>
                  </a:lnTo>
                  <a:lnTo>
                    <a:pt x="57" y="227"/>
                  </a:lnTo>
                  <a:lnTo>
                    <a:pt x="62" y="212"/>
                  </a:lnTo>
                  <a:lnTo>
                    <a:pt x="82" y="226"/>
                  </a:lnTo>
                  <a:lnTo>
                    <a:pt x="93" y="231"/>
                  </a:lnTo>
                  <a:lnTo>
                    <a:pt x="104" y="226"/>
                  </a:lnTo>
                  <a:lnTo>
                    <a:pt x="108" y="212"/>
                  </a:lnTo>
                  <a:lnTo>
                    <a:pt x="120" y="206"/>
                  </a:lnTo>
                  <a:lnTo>
                    <a:pt x="134" y="211"/>
                  </a:lnTo>
                  <a:lnTo>
                    <a:pt x="136" y="197"/>
                  </a:lnTo>
                  <a:lnTo>
                    <a:pt x="141" y="184"/>
                  </a:lnTo>
                  <a:lnTo>
                    <a:pt x="154" y="180"/>
                  </a:lnTo>
                  <a:lnTo>
                    <a:pt x="173" y="175"/>
                  </a:lnTo>
                  <a:lnTo>
                    <a:pt x="188" y="166"/>
                  </a:lnTo>
                  <a:lnTo>
                    <a:pt x="205" y="155"/>
                  </a:lnTo>
                  <a:lnTo>
                    <a:pt x="219" y="150"/>
                  </a:lnTo>
                  <a:lnTo>
                    <a:pt x="228" y="137"/>
                  </a:lnTo>
                  <a:lnTo>
                    <a:pt x="242" y="125"/>
                  </a:lnTo>
                  <a:lnTo>
                    <a:pt x="257" y="119"/>
                  </a:lnTo>
                  <a:lnTo>
                    <a:pt x="274" y="116"/>
                  </a:lnTo>
                  <a:lnTo>
                    <a:pt x="289" y="112"/>
                  </a:lnTo>
                  <a:lnTo>
                    <a:pt x="306" y="116"/>
                  </a:lnTo>
                  <a:lnTo>
                    <a:pt x="321" y="114"/>
                  </a:lnTo>
                  <a:lnTo>
                    <a:pt x="335" y="105"/>
                  </a:lnTo>
                  <a:lnTo>
                    <a:pt x="346" y="93"/>
                  </a:lnTo>
                  <a:lnTo>
                    <a:pt x="360" y="83"/>
                  </a:lnTo>
                  <a:lnTo>
                    <a:pt x="375" y="78"/>
                  </a:lnTo>
                  <a:lnTo>
                    <a:pt x="383" y="67"/>
                  </a:lnTo>
                  <a:lnTo>
                    <a:pt x="389" y="51"/>
                  </a:lnTo>
                  <a:lnTo>
                    <a:pt x="400" y="40"/>
                  </a:lnTo>
                  <a:lnTo>
                    <a:pt x="406" y="24"/>
                  </a:lnTo>
                  <a:lnTo>
                    <a:pt x="407" y="7"/>
                  </a:lnTo>
                  <a:lnTo>
                    <a:pt x="415" y="0"/>
                  </a:lnTo>
                  <a:lnTo>
                    <a:pt x="428" y="10"/>
                  </a:lnTo>
                  <a:lnTo>
                    <a:pt x="437" y="24"/>
                  </a:lnTo>
                  <a:lnTo>
                    <a:pt x="446" y="37"/>
                  </a:lnTo>
                  <a:lnTo>
                    <a:pt x="453" y="61"/>
                  </a:lnTo>
                  <a:lnTo>
                    <a:pt x="466" y="76"/>
                  </a:lnTo>
                  <a:lnTo>
                    <a:pt x="480" y="8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2" name="Freeform 18"/>
            <p:cNvSpPr>
              <a:spLocks/>
            </p:cNvSpPr>
            <p:nvPr/>
          </p:nvSpPr>
          <p:spPr bwMode="gray">
            <a:xfrm>
              <a:off x="4706757" y="3025926"/>
              <a:ext cx="1102530" cy="1126465"/>
            </a:xfrm>
            <a:custGeom>
              <a:avLst/>
              <a:gdLst>
                <a:gd name="T0" fmla="*/ 523 w 825"/>
                <a:gd name="T1" fmla="*/ 658 h 843"/>
                <a:gd name="T2" fmla="*/ 584 w 825"/>
                <a:gd name="T3" fmla="*/ 629 h 843"/>
                <a:gd name="T4" fmla="*/ 605 w 825"/>
                <a:gd name="T5" fmla="*/ 561 h 843"/>
                <a:gd name="T6" fmla="*/ 649 w 825"/>
                <a:gd name="T7" fmla="*/ 536 h 843"/>
                <a:gd name="T8" fmla="*/ 630 w 825"/>
                <a:gd name="T9" fmla="*/ 488 h 843"/>
                <a:gd name="T10" fmla="*/ 674 w 825"/>
                <a:gd name="T11" fmla="*/ 473 h 843"/>
                <a:gd name="T12" fmla="*/ 709 w 825"/>
                <a:gd name="T13" fmla="*/ 424 h 843"/>
                <a:gd name="T14" fmla="*/ 749 w 825"/>
                <a:gd name="T15" fmla="*/ 439 h 843"/>
                <a:gd name="T16" fmla="*/ 781 w 825"/>
                <a:gd name="T17" fmla="*/ 374 h 843"/>
                <a:gd name="T18" fmla="*/ 813 w 825"/>
                <a:gd name="T19" fmla="*/ 319 h 843"/>
                <a:gd name="T20" fmla="*/ 795 w 825"/>
                <a:gd name="T21" fmla="*/ 270 h 843"/>
                <a:gd name="T22" fmla="*/ 771 w 825"/>
                <a:gd name="T23" fmla="*/ 223 h 843"/>
                <a:gd name="T24" fmla="*/ 745 w 825"/>
                <a:gd name="T25" fmla="*/ 158 h 843"/>
                <a:gd name="T26" fmla="*/ 760 w 825"/>
                <a:gd name="T27" fmla="*/ 140 h 843"/>
                <a:gd name="T28" fmla="*/ 749 w 825"/>
                <a:gd name="T29" fmla="*/ 103 h 843"/>
                <a:gd name="T30" fmla="*/ 763 w 825"/>
                <a:gd name="T31" fmla="*/ 46 h 843"/>
                <a:gd name="T32" fmla="*/ 735 w 825"/>
                <a:gd name="T33" fmla="*/ 11 h 843"/>
                <a:gd name="T34" fmla="*/ 699 w 825"/>
                <a:gd name="T35" fmla="*/ 49 h 843"/>
                <a:gd name="T36" fmla="*/ 666 w 825"/>
                <a:gd name="T37" fmla="*/ 8 h 843"/>
                <a:gd name="T38" fmla="*/ 636 w 825"/>
                <a:gd name="T39" fmla="*/ 28 h 843"/>
                <a:gd name="T40" fmla="*/ 598 w 825"/>
                <a:gd name="T41" fmla="*/ 31 h 843"/>
                <a:gd name="T42" fmla="*/ 598 w 825"/>
                <a:gd name="T43" fmla="*/ 93 h 843"/>
                <a:gd name="T44" fmla="*/ 571 w 825"/>
                <a:gd name="T45" fmla="*/ 157 h 843"/>
                <a:gd name="T46" fmla="*/ 517 w 825"/>
                <a:gd name="T47" fmla="*/ 193 h 843"/>
                <a:gd name="T48" fmla="*/ 496 w 825"/>
                <a:gd name="T49" fmla="*/ 154 h 843"/>
                <a:gd name="T50" fmla="*/ 489 w 825"/>
                <a:gd name="T51" fmla="*/ 89 h 843"/>
                <a:gd name="T52" fmla="*/ 443 w 825"/>
                <a:gd name="T53" fmla="*/ 47 h 843"/>
                <a:gd name="T54" fmla="*/ 397 w 825"/>
                <a:gd name="T55" fmla="*/ 21 h 843"/>
                <a:gd name="T56" fmla="*/ 371 w 825"/>
                <a:gd name="T57" fmla="*/ 85 h 843"/>
                <a:gd name="T58" fmla="*/ 312 w 825"/>
                <a:gd name="T59" fmla="*/ 115 h 843"/>
                <a:gd name="T60" fmla="*/ 244 w 825"/>
                <a:gd name="T61" fmla="*/ 128 h 843"/>
                <a:gd name="T62" fmla="*/ 211 w 825"/>
                <a:gd name="T63" fmla="*/ 179 h 843"/>
                <a:gd name="T64" fmla="*/ 175 w 825"/>
                <a:gd name="T65" fmla="*/ 230 h 843"/>
                <a:gd name="T66" fmla="*/ 90 w 825"/>
                <a:gd name="T67" fmla="*/ 256 h 843"/>
                <a:gd name="T68" fmla="*/ 33 w 825"/>
                <a:gd name="T69" fmla="*/ 261 h 843"/>
                <a:gd name="T70" fmla="*/ 63 w 825"/>
                <a:gd name="T71" fmla="*/ 327 h 843"/>
                <a:gd name="T72" fmla="*/ 96 w 825"/>
                <a:gd name="T73" fmla="*/ 384 h 843"/>
                <a:gd name="T74" fmla="*/ 65 w 825"/>
                <a:gd name="T75" fmla="*/ 467 h 843"/>
                <a:gd name="T76" fmla="*/ 14 w 825"/>
                <a:gd name="T77" fmla="*/ 538 h 843"/>
                <a:gd name="T78" fmla="*/ 6 w 825"/>
                <a:gd name="T79" fmla="*/ 614 h 843"/>
                <a:gd name="T80" fmla="*/ 21 w 825"/>
                <a:gd name="T81" fmla="*/ 686 h 843"/>
                <a:gd name="T82" fmla="*/ 50 w 825"/>
                <a:gd name="T83" fmla="*/ 748 h 843"/>
                <a:gd name="T84" fmla="*/ 79 w 825"/>
                <a:gd name="T85" fmla="*/ 802 h 843"/>
                <a:gd name="T86" fmla="*/ 125 w 825"/>
                <a:gd name="T87" fmla="*/ 837 h 843"/>
                <a:gd name="T88" fmla="*/ 157 w 825"/>
                <a:gd name="T89" fmla="*/ 808 h 843"/>
                <a:gd name="T90" fmla="*/ 209 w 825"/>
                <a:gd name="T91" fmla="*/ 777 h 843"/>
                <a:gd name="T92" fmla="*/ 263 w 825"/>
                <a:gd name="T93" fmla="*/ 736 h 843"/>
                <a:gd name="T94" fmla="*/ 327 w 825"/>
                <a:gd name="T95" fmla="*/ 727 h 843"/>
                <a:gd name="T96" fmla="*/ 381 w 825"/>
                <a:gd name="T97" fmla="*/ 694 h 843"/>
                <a:gd name="T98" fmla="*/ 421 w 825"/>
                <a:gd name="T99" fmla="*/ 651 h 843"/>
                <a:gd name="T100" fmla="*/ 449 w 825"/>
                <a:gd name="T101" fmla="*/ 621 h 843"/>
                <a:gd name="T102" fmla="*/ 487 w 825"/>
                <a:gd name="T103" fmla="*/ 687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25" h="843">
                  <a:moveTo>
                    <a:pt x="500" y="697"/>
                  </a:moveTo>
                  <a:lnTo>
                    <a:pt x="511" y="690"/>
                  </a:lnTo>
                  <a:lnTo>
                    <a:pt x="518" y="673"/>
                  </a:lnTo>
                  <a:lnTo>
                    <a:pt x="523" y="658"/>
                  </a:lnTo>
                  <a:lnTo>
                    <a:pt x="535" y="646"/>
                  </a:lnTo>
                  <a:lnTo>
                    <a:pt x="551" y="636"/>
                  </a:lnTo>
                  <a:lnTo>
                    <a:pt x="569" y="635"/>
                  </a:lnTo>
                  <a:lnTo>
                    <a:pt x="584" y="629"/>
                  </a:lnTo>
                  <a:lnTo>
                    <a:pt x="594" y="615"/>
                  </a:lnTo>
                  <a:lnTo>
                    <a:pt x="598" y="594"/>
                  </a:lnTo>
                  <a:lnTo>
                    <a:pt x="607" y="582"/>
                  </a:lnTo>
                  <a:lnTo>
                    <a:pt x="605" y="561"/>
                  </a:lnTo>
                  <a:lnTo>
                    <a:pt x="613" y="553"/>
                  </a:lnTo>
                  <a:lnTo>
                    <a:pt x="629" y="554"/>
                  </a:lnTo>
                  <a:lnTo>
                    <a:pt x="641" y="550"/>
                  </a:lnTo>
                  <a:lnTo>
                    <a:pt x="649" y="536"/>
                  </a:lnTo>
                  <a:lnTo>
                    <a:pt x="655" y="521"/>
                  </a:lnTo>
                  <a:lnTo>
                    <a:pt x="649" y="504"/>
                  </a:lnTo>
                  <a:lnTo>
                    <a:pt x="638" y="500"/>
                  </a:lnTo>
                  <a:lnTo>
                    <a:pt x="630" y="488"/>
                  </a:lnTo>
                  <a:lnTo>
                    <a:pt x="633" y="473"/>
                  </a:lnTo>
                  <a:lnTo>
                    <a:pt x="645" y="463"/>
                  </a:lnTo>
                  <a:lnTo>
                    <a:pt x="665" y="470"/>
                  </a:lnTo>
                  <a:lnTo>
                    <a:pt x="674" y="473"/>
                  </a:lnTo>
                  <a:lnTo>
                    <a:pt x="687" y="466"/>
                  </a:lnTo>
                  <a:lnTo>
                    <a:pt x="694" y="452"/>
                  </a:lnTo>
                  <a:lnTo>
                    <a:pt x="699" y="436"/>
                  </a:lnTo>
                  <a:lnTo>
                    <a:pt x="709" y="424"/>
                  </a:lnTo>
                  <a:lnTo>
                    <a:pt x="721" y="418"/>
                  </a:lnTo>
                  <a:lnTo>
                    <a:pt x="734" y="420"/>
                  </a:lnTo>
                  <a:lnTo>
                    <a:pt x="741" y="430"/>
                  </a:lnTo>
                  <a:lnTo>
                    <a:pt x="749" y="439"/>
                  </a:lnTo>
                  <a:lnTo>
                    <a:pt x="759" y="430"/>
                  </a:lnTo>
                  <a:lnTo>
                    <a:pt x="767" y="414"/>
                  </a:lnTo>
                  <a:lnTo>
                    <a:pt x="774" y="396"/>
                  </a:lnTo>
                  <a:lnTo>
                    <a:pt x="781" y="374"/>
                  </a:lnTo>
                  <a:lnTo>
                    <a:pt x="795" y="360"/>
                  </a:lnTo>
                  <a:lnTo>
                    <a:pt x="811" y="349"/>
                  </a:lnTo>
                  <a:lnTo>
                    <a:pt x="809" y="337"/>
                  </a:lnTo>
                  <a:lnTo>
                    <a:pt x="813" y="319"/>
                  </a:lnTo>
                  <a:lnTo>
                    <a:pt x="824" y="305"/>
                  </a:lnTo>
                  <a:lnTo>
                    <a:pt x="824" y="290"/>
                  </a:lnTo>
                  <a:lnTo>
                    <a:pt x="813" y="280"/>
                  </a:lnTo>
                  <a:lnTo>
                    <a:pt x="795" y="270"/>
                  </a:lnTo>
                  <a:lnTo>
                    <a:pt x="798" y="254"/>
                  </a:lnTo>
                  <a:lnTo>
                    <a:pt x="793" y="234"/>
                  </a:lnTo>
                  <a:lnTo>
                    <a:pt x="781" y="229"/>
                  </a:lnTo>
                  <a:lnTo>
                    <a:pt x="771" y="223"/>
                  </a:lnTo>
                  <a:lnTo>
                    <a:pt x="773" y="202"/>
                  </a:lnTo>
                  <a:lnTo>
                    <a:pt x="767" y="180"/>
                  </a:lnTo>
                  <a:lnTo>
                    <a:pt x="757" y="169"/>
                  </a:lnTo>
                  <a:lnTo>
                    <a:pt x="745" y="158"/>
                  </a:lnTo>
                  <a:lnTo>
                    <a:pt x="732" y="155"/>
                  </a:lnTo>
                  <a:lnTo>
                    <a:pt x="735" y="143"/>
                  </a:lnTo>
                  <a:lnTo>
                    <a:pt x="748" y="141"/>
                  </a:lnTo>
                  <a:lnTo>
                    <a:pt x="760" y="140"/>
                  </a:lnTo>
                  <a:lnTo>
                    <a:pt x="768" y="126"/>
                  </a:lnTo>
                  <a:lnTo>
                    <a:pt x="766" y="112"/>
                  </a:lnTo>
                  <a:lnTo>
                    <a:pt x="757" y="107"/>
                  </a:lnTo>
                  <a:lnTo>
                    <a:pt x="749" y="103"/>
                  </a:lnTo>
                  <a:lnTo>
                    <a:pt x="753" y="92"/>
                  </a:lnTo>
                  <a:lnTo>
                    <a:pt x="763" y="78"/>
                  </a:lnTo>
                  <a:lnTo>
                    <a:pt x="767" y="58"/>
                  </a:lnTo>
                  <a:lnTo>
                    <a:pt x="763" y="46"/>
                  </a:lnTo>
                  <a:lnTo>
                    <a:pt x="768" y="31"/>
                  </a:lnTo>
                  <a:lnTo>
                    <a:pt x="773" y="11"/>
                  </a:lnTo>
                  <a:lnTo>
                    <a:pt x="753" y="4"/>
                  </a:lnTo>
                  <a:lnTo>
                    <a:pt x="735" y="11"/>
                  </a:lnTo>
                  <a:lnTo>
                    <a:pt x="728" y="24"/>
                  </a:lnTo>
                  <a:lnTo>
                    <a:pt x="713" y="26"/>
                  </a:lnTo>
                  <a:lnTo>
                    <a:pt x="706" y="36"/>
                  </a:lnTo>
                  <a:lnTo>
                    <a:pt x="699" y="49"/>
                  </a:lnTo>
                  <a:lnTo>
                    <a:pt x="690" y="54"/>
                  </a:lnTo>
                  <a:lnTo>
                    <a:pt x="681" y="40"/>
                  </a:lnTo>
                  <a:lnTo>
                    <a:pt x="674" y="24"/>
                  </a:lnTo>
                  <a:lnTo>
                    <a:pt x="666" y="8"/>
                  </a:lnTo>
                  <a:lnTo>
                    <a:pt x="660" y="0"/>
                  </a:lnTo>
                  <a:lnTo>
                    <a:pt x="649" y="3"/>
                  </a:lnTo>
                  <a:lnTo>
                    <a:pt x="641" y="13"/>
                  </a:lnTo>
                  <a:lnTo>
                    <a:pt x="636" y="28"/>
                  </a:lnTo>
                  <a:lnTo>
                    <a:pt x="627" y="20"/>
                  </a:lnTo>
                  <a:lnTo>
                    <a:pt x="619" y="11"/>
                  </a:lnTo>
                  <a:lnTo>
                    <a:pt x="607" y="17"/>
                  </a:lnTo>
                  <a:lnTo>
                    <a:pt x="598" y="31"/>
                  </a:lnTo>
                  <a:lnTo>
                    <a:pt x="586" y="42"/>
                  </a:lnTo>
                  <a:lnTo>
                    <a:pt x="583" y="54"/>
                  </a:lnTo>
                  <a:lnTo>
                    <a:pt x="594" y="72"/>
                  </a:lnTo>
                  <a:lnTo>
                    <a:pt x="598" y="93"/>
                  </a:lnTo>
                  <a:lnTo>
                    <a:pt x="602" y="122"/>
                  </a:lnTo>
                  <a:lnTo>
                    <a:pt x="595" y="141"/>
                  </a:lnTo>
                  <a:lnTo>
                    <a:pt x="586" y="155"/>
                  </a:lnTo>
                  <a:lnTo>
                    <a:pt x="571" y="157"/>
                  </a:lnTo>
                  <a:lnTo>
                    <a:pt x="555" y="161"/>
                  </a:lnTo>
                  <a:lnTo>
                    <a:pt x="544" y="172"/>
                  </a:lnTo>
                  <a:lnTo>
                    <a:pt x="530" y="186"/>
                  </a:lnTo>
                  <a:lnTo>
                    <a:pt x="517" y="193"/>
                  </a:lnTo>
                  <a:lnTo>
                    <a:pt x="504" y="191"/>
                  </a:lnTo>
                  <a:lnTo>
                    <a:pt x="496" y="183"/>
                  </a:lnTo>
                  <a:lnTo>
                    <a:pt x="490" y="168"/>
                  </a:lnTo>
                  <a:lnTo>
                    <a:pt x="496" y="154"/>
                  </a:lnTo>
                  <a:lnTo>
                    <a:pt x="487" y="140"/>
                  </a:lnTo>
                  <a:lnTo>
                    <a:pt x="481" y="123"/>
                  </a:lnTo>
                  <a:lnTo>
                    <a:pt x="482" y="107"/>
                  </a:lnTo>
                  <a:lnTo>
                    <a:pt x="489" y="89"/>
                  </a:lnTo>
                  <a:lnTo>
                    <a:pt x="486" y="74"/>
                  </a:lnTo>
                  <a:lnTo>
                    <a:pt x="472" y="64"/>
                  </a:lnTo>
                  <a:lnTo>
                    <a:pt x="454" y="58"/>
                  </a:lnTo>
                  <a:lnTo>
                    <a:pt x="443" y="47"/>
                  </a:lnTo>
                  <a:lnTo>
                    <a:pt x="436" y="28"/>
                  </a:lnTo>
                  <a:lnTo>
                    <a:pt x="427" y="15"/>
                  </a:lnTo>
                  <a:lnTo>
                    <a:pt x="410" y="13"/>
                  </a:lnTo>
                  <a:lnTo>
                    <a:pt x="397" y="21"/>
                  </a:lnTo>
                  <a:lnTo>
                    <a:pt x="400" y="43"/>
                  </a:lnTo>
                  <a:lnTo>
                    <a:pt x="391" y="61"/>
                  </a:lnTo>
                  <a:lnTo>
                    <a:pt x="380" y="69"/>
                  </a:lnTo>
                  <a:lnTo>
                    <a:pt x="371" y="85"/>
                  </a:lnTo>
                  <a:lnTo>
                    <a:pt x="356" y="93"/>
                  </a:lnTo>
                  <a:lnTo>
                    <a:pt x="341" y="101"/>
                  </a:lnTo>
                  <a:lnTo>
                    <a:pt x="331" y="112"/>
                  </a:lnTo>
                  <a:lnTo>
                    <a:pt x="312" y="115"/>
                  </a:lnTo>
                  <a:lnTo>
                    <a:pt x="294" y="110"/>
                  </a:lnTo>
                  <a:lnTo>
                    <a:pt x="277" y="112"/>
                  </a:lnTo>
                  <a:lnTo>
                    <a:pt x="258" y="118"/>
                  </a:lnTo>
                  <a:lnTo>
                    <a:pt x="244" y="128"/>
                  </a:lnTo>
                  <a:lnTo>
                    <a:pt x="233" y="141"/>
                  </a:lnTo>
                  <a:lnTo>
                    <a:pt x="218" y="153"/>
                  </a:lnTo>
                  <a:lnTo>
                    <a:pt x="212" y="162"/>
                  </a:lnTo>
                  <a:lnTo>
                    <a:pt x="211" y="179"/>
                  </a:lnTo>
                  <a:lnTo>
                    <a:pt x="218" y="200"/>
                  </a:lnTo>
                  <a:lnTo>
                    <a:pt x="211" y="216"/>
                  </a:lnTo>
                  <a:lnTo>
                    <a:pt x="197" y="226"/>
                  </a:lnTo>
                  <a:lnTo>
                    <a:pt x="175" y="230"/>
                  </a:lnTo>
                  <a:lnTo>
                    <a:pt x="151" y="238"/>
                  </a:lnTo>
                  <a:lnTo>
                    <a:pt x="128" y="244"/>
                  </a:lnTo>
                  <a:lnTo>
                    <a:pt x="110" y="252"/>
                  </a:lnTo>
                  <a:lnTo>
                    <a:pt x="90" y="256"/>
                  </a:lnTo>
                  <a:lnTo>
                    <a:pt x="75" y="252"/>
                  </a:lnTo>
                  <a:lnTo>
                    <a:pt x="60" y="244"/>
                  </a:lnTo>
                  <a:lnTo>
                    <a:pt x="43" y="248"/>
                  </a:lnTo>
                  <a:lnTo>
                    <a:pt x="33" y="261"/>
                  </a:lnTo>
                  <a:lnTo>
                    <a:pt x="29" y="280"/>
                  </a:lnTo>
                  <a:lnTo>
                    <a:pt x="39" y="297"/>
                  </a:lnTo>
                  <a:lnTo>
                    <a:pt x="54" y="310"/>
                  </a:lnTo>
                  <a:lnTo>
                    <a:pt x="63" y="327"/>
                  </a:lnTo>
                  <a:lnTo>
                    <a:pt x="64" y="342"/>
                  </a:lnTo>
                  <a:lnTo>
                    <a:pt x="81" y="349"/>
                  </a:lnTo>
                  <a:lnTo>
                    <a:pt x="94" y="363"/>
                  </a:lnTo>
                  <a:lnTo>
                    <a:pt x="96" y="384"/>
                  </a:lnTo>
                  <a:lnTo>
                    <a:pt x="87" y="405"/>
                  </a:lnTo>
                  <a:lnTo>
                    <a:pt x="83" y="427"/>
                  </a:lnTo>
                  <a:lnTo>
                    <a:pt x="75" y="449"/>
                  </a:lnTo>
                  <a:lnTo>
                    <a:pt x="65" y="467"/>
                  </a:lnTo>
                  <a:lnTo>
                    <a:pt x="56" y="488"/>
                  </a:lnTo>
                  <a:lnTo>
                    <a:pt x="43" y="507"/>
                  </a:lnTo>
                  <a:lnTo>
                    <a:pt x="27" y="520"/>
                  </a:lnTo>
                  <a:lnTo>
                    <a:pt x="14" y="538"/>
                  </a:lnTo>
                  <a:lnTo>
                    <a:pt x="11" y="554"/>
                  </a:lnTo>
                  <a:lnTo>
                    <a:pt x="18" y="578"/>
                  </a:lnTo>
                  <a:lnTo>
                    <a:pt x="13" y="596"/>
                  </a:lnTo>
                  <a:lnTo>
                    <a:pt x="6" y="614"/>
                  </a:lnTo>
                  <a:lnTo>
                    <a:pt x="0" y="637"/>
                  </a:lnTo>
                  <a:lnTo>
                    <a:pt x="3" y="657"/>
                  </a:lnTo>
                  <a:lnTo>
                    <a:pt x="9" y="676"/>
                  </a:lnTo>
                  <a:lnTo>
                    <a:pt x="21" y="686"/>
                  </a:lnTo>
                  <a:lnTo>
                    <a:pt x="35" y="698"/>
                  </a:lnTo>
                  <a:lnTo>
                    <a:pt x="43" y="714"/>
                  </a:lnTo>
                  <a:lnTo>
                    <a:pt x="51" y="732"/>
                  </a:lnTo>
                  <a:lnTo>
                    <a:pt x="50" y="748"/>
                  </a:lnTo>
                  <a:lnTo>
                    <a:pt x="49" y="766"/>
                  </a:lnTo>
                  <a:lnTo>
                    <a:pt x="65" y="776"/>
                  </a:lnTo>
                  <a:lnTo>
                    <a:pt x="79" y="787"/>
                  </a:lnTo>
                  <a:lnTo>
                    <a:pt x="79" y="802"/>
                  </a:lnTo>
                  <a:lnTo>
                    <a:pt x="83" y="823"/>
                  </a:lnTo>
                  <a:lnTo>
                    <a:pt x="103" y="837"/>
                  </a:lnTo>
                  <a:lnTo>
                    <a:pt x="114" y="842"/>
                  </a:lnTo>
                  <a:lnTo>
                    <a:pt x="125" y="837"/>
                  </a:lnTo>
                  <a:lnTo>
                    <a:pt x="129" y="823"/>
                  </a:lnTo>
                  <a:lnTo>
                    <a:pt x="141" y="817"/>
                  </a:lnTo>
                  <a:lnTo>
                    <a:pt x="155" y="822"/>
                  </a:lnTo>
                  <a:lnTo>
                    <a:pt x="157" y="808"/>
                  </a:lnTo>
                  <a:lnTo>
                    <a:pt x="162" y="795"/>
                  </a:lnTo>
                  <a:lnTo>
                    <a:pt x="175" y="791"/>
                  </a:lnTo>
                  <a:lnTo>
                    <a:pt x="194" y="786"/>
                  </a:lnTo>
                  <a:lnTo>
                    <a:pt x="209" y="777"/>
                  </a:lnTo>
                  <a:lnTo>
                    <a:pt x="226" y="766"/>
                  </a:lnTo>
                  <a:lnTo>
                    <a:pt x="240" y="761"/>
                  </a:lnTo>
                  <a:lnTo>
                    <a:pt x="249" y="748"/>
                  </a:lnTo>
                  <a:lnTo>
                    <a:pt x="263" y="736"/>
                  </a:lnTo>
                  <a:lnTo>
                    <a:pt x="278" y="730"/>
                  </a:lnTo>
                  <a:lnTo>
                    <a:pt x="295" y="727"/>
                  </a:lnTo>
                  <a:lnTo>
                    <a:pt x="310" y="723"/>
                  </a:lnTo>
                  <a:lnTo>
                    <a:pt x="327" y="727"/>
                  </a:lnTo>
                  <a:lnTo>
                    <a:pt x="342" y="725"/>
                  </a:lnTo>
                  <a:lnTo>
                    <a:pt x="356" y="716"/>
                  </a:lnTo>
                  <a:lnTo>
                    <a:pt x="367" y="704"/>
                  </a:lnTo>
                  <a:lnTo>
                    <a:pt x="381" y="694"/>
                  </a:lnTo>
                  <a:lnTo>
                    <a:pt x="396" y="689"/>
                  </a:lnTo>
                  <a:lnTo>
                    <a:pt x="404" y="678"/>
                  </a:lnTo>
                  <a:lnTo>
                    <a:pt x="410" y="662"/>
                  </a:lnTo>
                  <a:lnTo>
                    <a:pt x="421" y="651"/>
                  </a:lnTo>
                  <a:lnTo>
                    <a:pt x="427" y="635"/>
                  </a:lnTo>
                  <a:lnTo>
                    <a:pt x="428" y="618"/>
                  </a:lnTo>
                  <a:lnTo>
                    <a:pt x="436" y="611"/>
                  </a:lnTo>
                  <a:lnTo>
                    <a:pt x="449" y="621"/>
                  </a:lnTo>
                  <a:lnTo>
                    <a:pt x="458" y="635"/>
                  </a:lnTo>
                  <a:lnTo>
                    <a:pt x="467" y="648"/>
                  </a:lnTo>
                  <a:lnTo>
                    <a:pt x="474" y="672"/>
                  </a:lnTo>
                  <a:lnTo>
                    <a:pt x="487" y="687"/>
                  </a:lnTo>
                  <a:lnTo>
                    <a:pt x="500" y="69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grpSp>
          <p:nvGrpSpPr>
            <p:cNvPr id="43" name="Group 19"/>
            <p:cNvGrpSpPr>
              <a:grpSpLocks/>
            </p:cNvGrpSpPr>
            <p:nvPr/>
          </p:nvGrpSpPr>
          <p:grpSpPr bwMode="gray">
            <a:xfrm>
              <a:off x="4801641" y="2429956"/>
              <a:ext cx="2328009" cy="2303707"/>
              <a:chOff x="1986" y="1218"/>
              <a:chExt cx="1742" cy="1724"/>
            </a:xfrm>
            <a:grpFill/>
          </p:grpSpPr>
          <p:sp>
            <p:nvSpPr>
              <p:cNvPr id="44" name="Freeform 20"/>
              <p:cNvSpPr>
                <a:spLocks/>
              </p:cNvSpPr>
              <p:nvPr/>
            </p:nvSpPr>
            <p:spPr bwMode="gray">
              <a:xfrm>
                <a:off x="2814" y="1218"/>
                <a:ext cx="150" cy="147"/>
              </a:xfrm>
              <a:custGeom>
                <a:avLst/>
                <a:gdLst>
                  <a:gd name="T0" fmla="*/ 0 w 150"/>
                  <a:gd name="T1" fmla="*/ 75 h 147"/>
                  <a:gd name="T2" fmla="*/ 12 w 150"/>
                  <a:gd name="T3" fmla="*/ 65 h 147"/>
                  <a:gd name="T4" fmla="*/ 18 w 150"/>
                  <a:gd name="T5" fmla="*/ 51 h 147"/>
                  <a:gd name="T6" fmla="*/ 34 w 150"/>
                  <a:gd name="T7" fmla="*/ 47 h 147"/>
                  <a:gd name="T8" fmla="*/ 44 w 150"/>
                  <a:gd name="T9" fmla="*/ 37 h 147"/>
                  <a:gd name="T10" fmla="*/ 58 w 150"/>
                  <a:gd name="T11" fmla="*/ 24 h 147"/>
                  <a:gd name="T12" fmla="*/ 80 w 150"/>
                  <a:gd name="T13" fmla="*/ 19 h 147"/>
                  <a:gd name="T14" fmla="*/ 88 w 150"/>
                  <a:gd name="T15" fmla="*/ 7 h 147"/>
                  <a:gd name="T16" fmla="*/ 102 w 150"/>
                  <a:gd name="T17" fmla="*/ 0 h 147"/>
                  <a:gd name="T18" fmla="*/ 108 w 150"/>
                  <a:gd name="T19" fmla="*/ 8 h 147"/>
                  <a:gd name="T20" fmla="*/ 110 w 150"/>
                  <a:gd name="T21" fmla="*/ 26 h 147"/>
                  <a:gd name="T22" fmla="*/ 119 w 150"/>
                  <a:gd name="T23" fmla="*/ 36 h 147"/>
                  <a:gd name="T24" fmla="*/ 130 w 150"/>
                  <a:gd name="T25" fmla="*/ 47 h 147"/>
                  <a:gd name="T26" fmla="*/ 126 w 150"/>
                  <a:gd name="T27" fmla="*/ 67 h 147"/>
                  <a:gd name="T28" fmla="*/ 127 w 150"/>
                  <a:gd name="T29" fmla="*/ 91 h 147"/>
                  <a:gd name="T30" fmla="*/ 130 w 150"/>
                  <a:gd name="T31" fmla="*/ 107 h 147"/>
                  <a:gd name="T32" fmla="*/ 144 w 150"/>
                  <a:gd name="T33" fmla="*/ 118 h 147"/>
                  <a:gd name="T34" fmla="*/ 149 w 150"/>
                  <a:gd name="T35" fmla="*/ 140 h 147"/>
                  <a:gd name="T36" fmla="*/ 134 w 150"/>
                  <a:gd name="T37" fmla="*/ 146 h 147"/>
                  <a:gd name="T38" fmla="*/ 117 w 150"/>
                  <a:gd name="T39" fmla="*/ 146 h 147"/>
                  <a:gd name="T40" fmla="*/ 112 w 150"/>
                  <a:gd name="T41" fmla="*/ 141 h 147"/>
                  <a:gd name="T42" fmla="*/ 105 w 150"/>
                  <a:gd name="T43" fmla="*/ 136 h 147"/>
                  <a:gd name="T44" fmla="*/ 96 w 150"/>
                  <a:gd name="T45" fmla="*/ 129 h 147"/>
                  <a:gd name="T46" fmla="*/ 91 w 150"/>
                  <a:gd name="T47" fmla="*/ 130 h 147"/>
                  <a:gd name="T48" fmla="*/ 84 w 150"/>
                  <a:gd name="T49" fmla="*/ 130 h 147"/>
                  <a:gd name="T50" fmla="*/ 78 w 150"/>
                  <a:gd name="T51" fmla="*/ 134 h 147"/>
                  <a:gd name="T52" fmla="*/ 72 w 150"/>
                  <a:gd name="T53" fmla="*/ 139 h 147"/>
                  <a:gd name="T54" fmla="*/ 63 w 150"/>
                  <a:gd name="T55" fmla="*/ 141 h 147"/>
                  <a:gd name="T56" fmla="*/ 54 w 150"/>
                  <a:gd name="T57" fmla="*/ 144 h 147"/>
                  <a:gd name="T58" fmla="*/ 48 w 150"/>
                  <a:gd name="T59" fmla="*/ 141 h 147"/>
                  <a:gd name="T60" fmla="*/ 40 w 150"/>
                  <a:gd name="T61" fmla="*/ 139 h 147"/>
                  <a:gd name="T62" fmla="*/ 34 w 150"/>
                  <a:gd name="T63" fmla="*/ 136 h 147"/>
                  <a:gd name="T64" fmla="*/ 27 w 150"/>
                  <a:gd name="T65" fmla="*/ 129 h 147"/>
                  <a:gd name="T66" fmla="*/ 24 w 150"/>
                  <a:gd name="T67" fmla="*/ 122 h 147"/>
                  <a:gd name="T68" fmla="*/ 20 w 150"/>
                  <a:gd name="T69" fmla="*/ 114 h 147"/>
                  <a:gd name="T70" fmla="*/ 18 w 150"/>
                  <a:gd name="T71" fmla="*/ 103 h 147"/>
                  <a:gd name="T72" fmla="*/ 15 w 150"/>
                  <a:gd name="T73" fmla="*/ 93 h 147"/>
                  <a:gd name="T74" fmla="*/ 11 w 150"/>
                  <a:gd name="T75" fmla="*/ 89 h 147"/>
                  <a:gd name="T76" fmla="*/ 4 w 150"/>
                  <a:gd name="T77" fmla="*/ 85 h 147"/>
                  <a:gd name="T78" fmla="*/ 2 w 150"/>
                  <a:gd name="T79" fmla="*/ 80 h 147"/>
                  <a:gd name="T80" fmla="*/ 0 w 150"/>
                  <a:gd name="T81" fmla="*/ 75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" h="147">
                    <a:moveTo>
                      <a:pt x="0" y="75"/>
                    </a:moveTo>
                    <a:lnTo>
                      <a:pt x="12" y="65"/>
                    </a:lnTo>
                    <a:lnTo>
                      <a:pt x="18" y="51"/>
                    </a:lnTo>
                    <a:lnTo>
                      <a:pt x="34" y="47"/>
                    </a:lnTo>
                    <a:lnTo>
                      <a:pt x="44" y="37"/>
                    </a:lnTo>
                    <a:lnTo>
                      <a:pt x="58" y="24"/>
                    </a:lnTo>
                    <a:lnTo>
                      <a:pt x="80" y="19"/>
                    </a:lnTo>
                    <a:lnTo>
                      <a:pt x="88" y="7"/>
                    </a:lnTo>
                    <a:lnTo>
                      <a:pt x="102" y="0"/>
                    </a:lnTo>
                    <a:lnTo>
                      <a:pt x="108" y="8"/>
                    </a:lnTo>
                    <a:lnTo>
                      <a:pt x="110" y="26"/>
                    </a:lnTo>
                    <a:lnTo>
                      <a:pt x="119" y="36"/>
                    </a:lnTo>
                    <a:lnTo>
                      <a:pt x="130" y="47"/>
                    </a:lnTo>
                    <a:lnTo>
                      <a:pt x="126" y="67"/>
                    </a:lnTo>
                    <a:lnTo>
                      <a:pt x="127" y="91"/>
                    </a:lnTo>
                    <a:lnTo>
                      <a:pt x="130" y="107"/>
                    </a:lnTo>
                    <a:lnTo>
                      <a:pt x="144" y="118"/>
                    </a:lnTo>
                    <a:lnTo>
                      <a:pt x="149" y="140"/>
                    </a:lnTo>
                    <a:lnTo>
                      <a:pt x="134" y="146"/>
                    </a:lnTo>
                    <a:lnTo>
                      <a:pt x="117" y="146"/>
                    </a:lnTo>
                    <a:lnTo>
                      <a:pt x="112" y="141"/>
                    </a:lnTo>
                    <a:lnTo>
                      <a:pt x="105" y="136"/>
                    </a:lnTo>
                    <a:lnTo>
                      <a:pt x="96" y="129"/>
                    </a:lnTo>
                    <a:lnTo>
                      <a:pt x="91" y="130"/>
                    </a:lnTo>
                    <a:lnTo>
                      <a:pt x="84" y="130"/>
                    </a:lnTo>
                    <a:lnTo>
                      <a:pt x="78" y="134"/>
                    </a:lnTo>
                    <a:lnTo>
                      <a:pt x="72" y="139"/>
                    </a:lnTo>
                    <a:lnTo>
                      <a:pt x="63" y="141"/>
                    </a:lnTo>
                    <a:lnTo>
                      <a:pt x="54" y="144"/>
                    </a:lnTo>
                    <a:lnTo>
                      <a:pt x="48" y="141"/>
                    </a:lnTo>
                    <a:lnTo>
                      <a:pt x="40" y="139"/>
                    </a:lnTo>
                    <a:lnTo>
                      <a:pt x="34" y="136"/>
                    </a:lnTo>
                    <a:lnTo>
                      <a:pt x="27" y="129"/>
                    </a:lnTo>
                    <a:lnTo>
                      <a:pt x="24" y="122"/>
                    </a:lnTo>
                    <a:lnTo>
                      <a:pt x="20" y="114"/>
                    </a:lnTo>
                    <a:lnTo>
                      <a:pt x="18" y="103"/>
                    </a:lnTo>
                    <a:lnTo>
                      <a:pt x="15" y="93"/>
                    </a:lnTo>
                    <a:lnTo>
                      <a:pt x="11" y="89"/>
                    </a:lnTo>
                    <a:lnTo>
                      <a:pt x="4" y="85"/>
                    </a:lnTo>
                    <a:lnTo>
                      <a:pt x="2" y="80"/>
                    </a:lnTo>
                    <a:lnTo>
                      <a:pt x="0" y="7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" name="Freeform 21"/>
              <p:cNvSpPr>
                <a:spLocks/>
              </p:cNvSpPr>
              <p:nvPr/>
            </p:nvSpPr>
            <p:spPr bwMode="gray">
              <a:xfrm>
                <a:off x="3554" y="1628"/>
                <a:ext cx="174" cy="134"/>
              </a:xfrm>
              <a:custGeom>
                <a:avLst/>
                <a:gdLst>
                  <a:gd name="T0" fmla="*/ 116 w 174"/>
                  <a:gd name="T1" fmla="*/ 4 h 134"/>
                  <a:gd name="T2" fmla="*/ 130 w 174"/>
                  <a:gd name="T3" fmla="*/ 14 h 134"/>
                  <a:gd name="T4" fmla="*/ 139 w 174"/>
                  <a:gd name="T5" fmla="*/ 28 h 134"/>
                  <a:gd name="T6" fmla="*/ 134 w 174"/>
                  <a:gd name="T7" fmla="*/ 42 h 134"/>
                  <a:gd name="T8" fmla="*/ 133 w 174"/>
                  <a:gd name="T9" fmla="*/ 50 h 134"/>
                  <a:gd name="T10" fmla="*/ 137 w 174"/>
                  <a:gd name="T11" fmla="*/ 57 h 134"/>
                  <a:gd name="T12" fmla="*/ 150 w 174"/>
                  <a:gd name="T13" fmla="*/ 60 h 134"/>
                  <a:gd name="T14" fmla="*/ 162 w 174"/>
                  <a:gd name="T15" fmla="*/ 69 h 134"/>
                  <a:gd name="T16" fmla="*/ 170 w 174"/>
                  <a:gd name="T17" fmla="*/ 83 h 134"/>
                  <a:gd name="T18" fmla="*/ 173 w 174"/>
                  <a:gd name="T19" fmla="*/ 100 h 134"/>
                  <a:gd name="T20" fmla="*/ 170 w 174"/>
                  <a:gd name="T21" fmla="*/ 112 h 134"/>
                  <a:gd name="T22" fmla="*/ 162 w 174"/>
                  <a:gd name="T23" fmla="*/ 119 h 134"/>
                  <a:gd name="T24" fmla="*/ 150 w 174"/>
                  <a:gd name="T25" fmla="*/ 125 h 134"/>
                  <a:gd name="T26" fmla="*/ 139 w 174"/>
                  <a:gd name="T27" fmla="*/ 121 h 134"/>
                  <a:gd name="T28" fmla="*/ 123 w 174"/>
                  <a:gd name="T29" fmla="*/ 112 h 134"/>
                  <a:gd name="T30" fmla="*/ 114 w 174"/>
                  <a:gd name="T31" fmla="*/ 110 h 134"/>
                  <a:gd name="T32" fmla="*/ 104 w 174"/>
                  <a:gd name="T33" fmla="*/ 112 h 134"/>
                  <a:gd name="T34" fmla="*/ 100 w 174"/>
                  <a:gd name="T35" fmla="*/ 121 h 134"/>
                  <a:gd name="T36" fmla="*/ 93 w 174"/>
                  <a:gd name="T37" fmla="*/ 129 h 134"/>
                  <a:gd name="T38" fmla="*/ 83 w 174"/>
                  <a:gd name="T39" fmla="*/ 133 h 134"/>
                  <a:gd name="T40" fmla="*/ 72 w 174"/>
                  <a:gd name="T41" fmla="*/ 129 h 134"/>
                  <a:gd name="T42" fmla="*/ 64 w 174"/>
                  <a:gd name="T43" fmla="*/ 121 h 134"/>
                  <a:gd name="T44" fmla="*/ 56 w 174"/>
                  <a:gd name="T45" fmla="*/ 114 h 134"/>
                  <a:gd name="T46" fmla="*/ 46 w 174"/>
                  <a:gd name="T47" fmla="*/ 114 h 134"/>
                  <a:gd name="T48" fmla="*/ 38 w 174"/>
                  <a:gd name="T49" fmla="*/ 121 h 134"/>
                  <a:gd name="T50" fmla="*/ 25 w 174"/>
                  <a:gd name="T51" fmla="*/ 126 h 134"/>
                  <a:gd name="T52" fmla="*/ 15 w 174"/>
                  <a:gd name="T53" fmla="*/ 128 h 134"/>
                  <a:gd name="T54" fmla="*/ 4 w 174"/>
                  <a:gd name="T55" fmla="*/ 122 h 134"/>
                  <a:gd name="T56" fmla="*/ 0 w 174"/>
                  <a:gd name="T57" fmla="*/ 110 h 134"/>
                  <a:gd name="T58" fmla="*/ 3 w 174"/>
                  <a:gd name="T59" fmla="*/ 90 h 134"/>
                  <a:gd name="T60" fmla="*/ 11 w 174"/>
                  <a:gd name="T61" fmla="*/ 69 h 134"/>
                  <a:gd name="T62" fmla="*/ 15 w 174"/>
                  <a:gd name="T63" fmla="*/ 53 h 134"/>
                  <a:gd name="T64" fmla="*/ 11 w 174"/>
                  <a:gd name="T65" fmla="*/ 38 h 134"/>
                  <a:gd name="T66" fmla="*/ 15 w 174"/>
                  <a:gd name="T67" fmla="*/ 26 h 134"/>
                  <a:gd name="T68" fmla="*/ 26 w 174"/>
                  <a:gd name="T69" fmla="*/ 19 h 134"/>
                  <a:gd name="T70" fmla="*/ 39 w 174"/>
                  <a:gd name="T71" fmla="*/ 22 h 134"/>
                  <a:gd name="T72" fmla="*/ 44 w 174"/>
                  <a:gd name="T73" fmla="*/ 26 h 134"/>
                  <a:gd name="T74" fmla="*/ 47 w 174"/>
                  <a:gd name="T75" fmla="*/ 14 h 134"/>
                  <a:gd name="T76" fmla="*/ 56 w 174"/>
                  <a:gd name="T77" fmla="*/ 6 h 134"/>
                  <a:gd name="T78" fmla="*/ 69 w 174"/>
                  <a:gd name="T79" fmla="*/ 1 h 134"/>
                  <a:gd name="T80" fmla="*/ 86 w 174"/>
                  <a:gd name="T81" fmla="*/ 7 h 134"/>
                  <a:gd name="T82" fmla="*/ 91 w 174"/>
                  <a:gd name="T83" fmla="*/ 7 h 134"/>
                  <a:gd name="T84" fmla="*/ 96 w 174"/>
                  <a:gd name="T85" fmla="*/ 0 h 134"/>
                  <a:gd name="T86" fmla="*/ 116 w 174"/>
                  <a:gd name="T87" fmla="*/ 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4" h="134">
                    <a:moveTo>
                      <a:pt x="116" y="4"/>
                    </a:moveTo>
                    <a:lnTo>
                      <a:pt x="130" y="14"/>
                    </a:lnTo>
                    <a:lnTo>
                      <a:pt x="139" y="28"/>
                    </a:lnTo>
                    <a:lnTo>
                      <a:pt x="134" y="42"/>
                    </a:lnTo>
                    <a:lnTo>
                      <a:pt x="133" y="50"/>
                    </a:lnTo>
                    <a:lnTo>
                      <a:pt x="137" y="57"/>
                    </a:lnTo>
                    <a:lnTo>
                      <a:pt x="150" y="60"/>
                    </a:lnTo>
                    <a:lnTo>
                      <a:pt x="162" y="69"/>
                    </a:lnTo>
                    <a:lnTo>
                      <a:pt x="170" y="83"/>
                    </a:lnTo>
                    <a:lnTo>
                      <a:pt x="173" y="100"/>
                    </a:lnTo>
                    <a:lnTo>
                      <a:pt x="170" y="112"/>
                    </a:lnTo>
                    <a:lnTo>
                      <a:pt x="162" y="119"/>
                    </a:lnTo>
                    <a:lnTo>
                      <a:pt x="150" y="125"/>
                    </a:lnTo>
                    <a:lnTo>
                      <a:pt x="139" y="121"/>
                    </a:lnTo>
                    <a:lnTo>
                      <a:pt x="123" y="112"/>
                    </a:lnTo>
                    <a:lnTo>
                      <a:pt x="114" y="110"/>
                    </a:lnTo>
                    <a:lnTo>
                      <a:pt x="104" y="112"/>
                    </a:lnTo>
                    <a:lnTo>
                      <a:pt x="100" y="121"/>
                    </a:lnTo>
                    <a:lnTo>
                      <a:pt x="93" y="129"/>
                    </a:lnTo>
                    <a:lnTo>
                      <a:pt x="83" y="133"/>
                    </a:lnTo>
                    <a:lnTo>
                      <a:pt x="72" y="129"/>
                    </a:lnTo>
                    <a:lnTo>
                      <a:pt x="64" y="121"/>
                    </a:lnTo>
                    <a:lnTo>
                      <a:pt x="56" y="114"/>
                    </a:lnTo>
                    <a:lnTo>
                      <a:pt x="46" y="114"/>
                    </a:lnTo>
                    <a:lnTo>
                      <a:pt x="38" y="121"/>
                    </a:lnTo>
                    <a:lnTo>
                      <a:pt x="25" y="126"/>
                    </a:lnTo>
                    <a:lnTo>
                      <a:pt x="15" y="128"/>
                    </a:lnTo>
                    <a:lnTo>
                      <a:pt x="4" y="122"/>
                    </a:lnTo>
                    <a:lnTo>
                      <a:pt x="0" y="110"/>
                    </a:lnTo>
                    <a:lnTo>
                      <a:pt x="3" y="90"/>
                    </a:lnTo>
                    <a:lnTo>
                      <a:pt x="11" y="69"/>
                    </a:lnTo>
                    <a:lnTo>
                      <a:pt x="15" y="53"/>
                    </a:lnTo>
                    <a:lnTo>
                      <a:pt x="11" y="38"/>
                    </a:lnTo>
                    <a:lnTo>
                      <a:pt x="15" y="26"/>
                    </a:lnTo>
                    <a:lnTo>
                      <a:pt x="26" y="19"/>
                    </a:lnTo>
                    <a:lnTo>
                      <a:pt x="39" y="22"/>
                    </a:lnTo>
                    <a:lnTo>
                      <a:pt x="44" y="26"/>
                    </a:lnTo>
                    <a:lnTo>
                      <a:pt x="47" y="14"/>
                    </a:lnTo>
                    <a:lnTo>
                      <a:pt x="56" y="6"/>
                    </a:lnTo>
                    <a:lnTo>
                      <a:pt x="69" y="1"/>
                    </a:lnTo>
                    <a:lnTo>
                      <a:pt x="86" y="7"/>
                    </a:lnTo>
                    <a:lnTo>
                      <a:pt x="91" y="7"/>
                    </a:lnTo>
                    <a:lnTo>
                      <a:pt x="96" y="0"/>
                    </a:lnTo>
                    <a:lnTo>
                      <a:pt x="116" y="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" name="Freeform 22"/>
              <p:cNvSpPr>
                <a:spLocks/>
              </p:cNvSpPr>
              <p:nvPr/>
            </p:nvSpPr>
            <p:spPr bwMode="gray">
              <a:xfrm>
                <a:off x="1986" y="2747"/>
                <a:ext cx="236" cy="195"/>
              </a:xfrm>
              <a:custGeom>
                <a:avLst/>
                <a:gdLst>
                  <a:gd name="T0" fmla="*/ 7 w 236"/>
                  <a:gd name="T1" fmla="*/ 48 h 195"/>
                  <a:gd name="T2" fmla="*/ 15 w 236"/>
                  <a:gd name="T3" fmla="*/ 57 h 195"/>
                  <a:gd name="T4" fmla="*/ 28 w 236"/>
                  <a:gd name="T5" fmla="*/ 66 h 195"/>
                  <a:gd name="T6" fmla="*/ 34 w 236"/>
                  <a:gd name="T7" fmla="*/ 84 h 195"/>
                  <a:gd name="T8" fmla="*/ 39 w 236"/>
                  <a:gd name="T9" fmla="*/ 103 h 195"/>
                  <a:gd name="T10" fmla="*/ 43 w 236"/>
                  <a:gd name="T11" fmla="*/ 122 h 195"/>
                  <a:gd name="T12" fmla="*/ 48 w 236"/>
                  <a:gd name="T13" fmla="*/ 138 h 195"/>
                  <a:gd name="T14" fmla="*/ 61 w 236"/>
                  <a:gd name="T15" fmla="*/ 150 h 195"/>
                  <a:gd name="T16" fmla="*/ 73 w 236"/>
                  <a:gd name="T17" fmla="*/ 157 h 195"/>
                  <a:gd name="T18" fmla="*/ 87 w 236"/>
                  <a:gd name="T19" fmla="*/ 154 h 195"/>
                  <a:gd name="T20" fmla="*/ 108 w 236"/>
                  <a:gd name="T21" fmla="*/ 153 h 195"/>
                  <a:gd name="T22" fmla="*/ 130 w 236"/>
                  <a:gd name="T23" fmla="*/ 154 h 195"/>
                  <a:gd name="T24" fmla="*/ 142 w 236"/>
                  <a:gd name="T25" fmla="*/ 162 h 195"/>
                  <a:gd name="T26" fmla="*/ 155 w 236"/>
                  <a:gd name="T27" fmla="*/ 172 h 195"/>
                  <a:gd name="T28" fmla="*/ 160 w 236"/>
                  <a:gd name="T29" fmla="*/ 187 h 195"/>
                  <a:gd name="T30" fmla="*/ 176 w 236"/>
                  <a:gd name="T31" fmla="*/ 193 h 195"/>
                  <a:gd name="T32" fmla="*/ 191 w 236"/>
                  <a:gd name="T33" fmla="*/ 187 h 195"/>
                  <a:gd name="T34" fmla="*/ 206 w 236"/>
                  <a:gd name="T35" fmla="*/ 194 h 195"/>
                  <a:gd name="T36" fmla="*/ 217 w 236"/>
                  <a:gd name="T37" fmla="*/ 192 h 195"/>
                  <a:gd name="T38" fmla="*/ 235 w 236"/>
                  <a:gd name="T39" fmla="*/ 193 h 195"/>
                  <a:gd name="T40" fmla="*/ 227 w 236"/>
                  <a:gd name="T41" fmla="*/ 178 h 195"/>
                  <a:gd name="T42" fmla="*/ 223 w 236"/>
                  <a:gd name="T43" fmla="*/ 157 h 195"/>
                  <a:gd name="T44" fmla="*/ 221 w 236"/>
                  <a:gd name="T45" fmla="*/ 140 h 195"/>
                  <a:gd name="T46" fmla="*/ 230 w 236"/>
                  <a:gd name="T47" fmla="*/ 126 h 195"/>
                  <a:gd name="T48" fmla="*/ 230 w 236"/>
                  <a:gd name="T49" fmla="*/ 108 h 195"/>
                  <a:gd name="T50" fmla="*/ 223 w 236"/>
                  <a:gd name="T51" fmla="*/ 96 h 195"/>
                  <a:gd name="T52" fmla="*/ 219 w 236"/>
                  <a:gd name="T53" fmla="*/ 78 h 195"/>
                  <a:gd name="T54" fmla="*/ 225 w 236"/>
                  <a:gd name="T55" fmla="*/ 61 h 195"/>
                  <a:gd name="T56" fmla="*/ 224 w 236"/>
                  <a:gd name="T57" fmla="*/ 45 h 195"/>
                  <a:gd name="T58" fmla="*/ 214 w 236"/>
                  <a:gd name="T59" fmla="*/ 32 h 195"/>
                  <a:gd name="T60" fmla="*/ 199 w 236"/>
                  <a:gd name="T61" fmla="*/ 25 h 195"/>
                  <a:gd name="T62" fmla="*/ 181 w 236"/>
                  <a:gd name="T63" fmla="*/ 20 h 195"/>
                  <a:gd name="T64" fmla="*/ 170 w 236"/>
                  <a:gd name="T65" fmla="*/ 9 h 195"/>
                  <a:gd name="T66" fmla="*/ 153 w 236"/>
                  <a:gd name="T67" fmla="*/ 0 h 195"/>
                  <a:gd name="T68" fmla="*/ 131 w 236"/>
                  <a:gd name="T69" fmla="*/ 6 h 195"/>
                  <a:gd name="T70" fmla="*/ 115 w 236"/>
                  <a:gd name="T71" fmla="*/ 10 h 195"/>
                  <a:gd name="T72" fmla="*/ 102 w 236"/>
                  <a:gd name="T73" fmla="*/ 24 h 195"/>
                  <a:gd name="T74" fmla="*/ 93 w 236"/>
                  <a:gd name="T75" fmla="*/ 36 h 195"/>
                  <a:gd name="T76" fmla="*/ 76 w 236"/>
                  <a:gd name="T77" fmla="*/ 43 h 195"/>
                  <a:gd name="T78" fmla="*/ 61 w 236"/>
                  <a:gd name="T79" fmla="*/ 39 h 195"/>
                  <a:gd name="T80" fmla="*/ 47 w 236"/>
                  <a:gd name="T81" fmla="*/ 31 h 195"/>
                  <a:gd name="T82" fmla="*/ 32 w 236"/>
                  <a:gd name="T83" fmla="*/ 23 h 195"/>
                  <a:gd name="T84" fmla="*/ 15 w 236"/>
                  <a:gd name="T85" fmla="*/ 24 h 195"/>
                  <a:gd name="T86" fmla="*/ 0 w 236"/>
                  <a:gd name="T87" fmla="*/ 28 h 195"/>
                  <a:gd name="T88" fmla="*/ 1 w 236"/>
                  <a:gd name="T89" fmla="*/ 39 h 195"/>
                  <a:gd name="T90" fmla="*/ 7 w 236"/>
                  <a:gd name="T91" fmla="*/ 4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6" h="195">
                    <a:moveTo>
                      <a:pt x="7" y="48"/>
                    </a:moveTo>
                    <a:lnTo>
                      <a:pt x="15" y="57"/>
                    </a:lnTo>
                    <a:lnTo>
                      <a:pt x="28" y="66"/>
                    </a:lnTo>
                    <a:lnTo>
                      <a:pt x="34" y="84"/>
                    </a:lnTo>
                    <a:lnTo>
                      <a:pt x="39" y="103"/>
                    </a:lnTo>
                    <a:lnTo>
                      <a:pt x="43" y="122"/>
                    </a:lnTo>
                    <a:lnTo>
                      <a:pt x="48" y="138"/>
                    </a:lnTo>
                    <a:lnTo>
                      <a:pt x="61" y="150"/>
                    </a:lnTo>
                    <a:lnTo>
                      <a:pt x="73" y="157"/>
                    </a:lnTo>
                    <a:lnTo>
                      <a:pt x="87" y="154"/>
                    </a:lnTo>
                    <a:lnTo>
                      <a:pt x="108" y="153"/>
                    </a:lnTo>
                    <a:lnTo>
                      <a:pt x="130" y="154"/>
                    </a:lnTo>
                    <a:lnTo>
                      <a:pt x="142" y="162"/>
                    </a:lnTo>
                    <a:lnTo>
                      <a:pt x="155" y="172"/>
                    </a:lnTo>
                    <a:lnTo>
                      <a:pt x="160" y="187"/>
                    </a:lnTo>
                    <a:lnTo>
                      <a:pt x="176" y="193"/>
                    </a:lnTo>
                    <a:lnTo>
                      <a:pt x="191" y="187"/>
                    </a:lnTo>
                    <a:lnTo>
                      <a:pt x="206" y="194"/>
                    </a:lnTo>
                    <a:lnTo>
                      <a:pt x="217" y="192"/>
                    </a:lnTo>
                    <a:lnTo>
                      <a:pt x="235" y="193"/>
                    </a:lnTo>
                    <a:lnTo>
                      <a:pt x="227" y="178"/>
                    </a:lnTo>
                    <a:lnTo>
                      <a:pt x="223" y="157"/>
                    </a:lnTo>
                    <a:lnTo>
                      <a:pt x="221" y="140"/>
                    </a:lnTo>
                    <a:lnTo>
                      <a:pt x="230" y="126"/>
                    </a:lnTo>
                    <a:lnTo>
                      <a:pt x="230" y="108"/>
                    </a:lnTo>
                    <a:lnTo>
                      <a:pt x="223" y="96"/>
                    </a:lnTo>
                    <a:lnTo>
                      <a:pt x="219" y="78"/>
                    </a:lnTo>
                    <a:lnTo>
                      <a:pt x="225" y="61"/>
                    </a:lnTo>
                    <a:lnTo>
                      <a:pt x="224" y="45"/>
                    </a:lnTo>
                    <a:lnTo>
                      <a:pt x="214" y="32"/>
                    </a:lnTo>
                    <a:lnTo>
                      <a:pt x="199" y="25"/>
                    </a:lnTo>
                    <a:lnTo>
                      <a:pt x="181" y="20"/>
                    </a:lnTo>
                    <a:lnTo>
                      <a:pt x="170" y="9"/>
                    </a:lnTo>
                    <a:lnTo>
                      <a:pt x="153" y="0"/>
                    </a:lnTo>
                    <a:lnTo>
                      <a:pt x="131" y="6"/>
                    </a:lnTo>
                    <a:lnTo>
                      <a:pt x="115" y="10"/>
                    </a:lnTo>
                    <a:lnTo>
                      <a:pt x="102" y="24"/>
                    </a:lnTo>
                    <a:lnTo>
                      <a:pt x="93" y="36"/>
                    </a:lnTo>
                    <a:lnTo>
                      <a:pt x="76" y="43"/>
                    </a:lnTo>
                    <a:lnTo>
                      <a:pt x="61" y="39"/>
                    </a:lnTo>
                    <a:lnTo>
                      <a:pt x="47" y="31"/>
                    </a:lnTo>
                    <a:lnTo>
                      <a:pt x="32" y="23"/>
                    </a:lnTo>
                    <a:lnTo>
                      <a:pt x="15" y="24"/>
                    </a:lnTo>
                    <a:lnTo>
                      <a:pt x="0" y="28"/>
                    </a:lnTo>
                    <a:lnTo>
                      <a:pt x="1" y="39"/>
                    </a:lnTo>
                    <a:lnTo>
                      <a:pt x="7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grpSp>
            <p:nvGrpSpPr>
              <p:cNvPr id="47" name="Group 23"/>
              <p:cNvGrpSpPr>
                <a:grpSpLocks/>
              </p:cNvGrpSpPr>
              <p:nvPr/>
            </p:nvGrpSpPr>
            <p:grpSpPr bwMode="gray">
              <a:xfrm>
                <a:off x="2553" y="1264"/>
                <a:ext cx="113" cy="265"/>
                <a:chOff x="2553" y="1264"/>
                <a:chExt cx="113" cy="265"/>
              </a:xfrm>
              <a:grpFill/>
            </p:grpSpPr>
            <p:sp>
              <p:nvSpPr>
                <p:cNvPr id="48" name="Freeform 24"/>
                <p:cNvSpPr>
                  <a:spLocks/>
                </p:cNvSpPr>
                <p:nvPr/>
              </p:nvSpPr>
              <p:spPr bwMode="gray">
                <a:xfrm>
                  <a:off x="2553" y="1415"/>
                  <a:ext cx="113" cy="114"/>
                </a:xfrm>
                <a:custGeom>
                  <a:avLst/>
                  <a:gdLst>
                    <a:gd name="T0" fmla="*/ 9 w 113"/>
                    <a:gd name="T1" fmla="*/ 30 h 114"/>
                    <a:gd name="T2" fmla="*/ 14 w 113"/>
                    <a:gd name="T3" fmla="*/ 37 h 114"/>
                    <a:gd name="T4" fmla="*/ 18 w 113"/>
                    <a:gd name="T5" fmla="*/ 45 h 114"/>
                    <a:gd name="T6" fmla="*/ 22 w 113"/>
                    <a:gd name="T7" fmla="*/ 55 h 114"/>
                    <a:gd name="T8" fmla="*/ 22 w 113"/>
                    <a:gd name="T9" fmla="*/ 66 h 114"/>
                    <a:gd name="T10" fmla="*/ 20 w 113"/>
                    <a:gd name="T11" fmla="*/ 79 h 114"/>
                    <a:gd name="T12" fmla="*/ 22 w 113"/>
                    <a:gd name="T13" fmla="*/ 86 h 114"/>
                    <a:gd name="T14" fmla="*/ 28 w 113"/>
                    <a:gd name="T15" fmla="*/ 95 h 114"/>
                    <a:gd name="T16" fmla="*/ 35 w 113"/>
                    <a:gd name="T17" fmla="*/ 101 h 114"/>
                    <a:gd name="T18" fmla="*/ 43 w 113"/>
                    <a:gd name="T19" fmla="*/ 104 h 114"/>
                    <a:gd name="T20" fmla="*/ 53 w 113"/>
                    <a:gd name="T21" fmla="*/ 102 h 114"/>
                    <a:gd name="T22" fmla="*/ 56 w 113"/>
                    <a:gd name="T23" fmla="*/ 106 h 114"/>
                    <a:gd name="T24" fmla="*/ 61 w 113"/>
                    <a:gd name="T25" fmla="*/ 111 h 114"/>
                    <a:gd name="T26" fmla="*/ 67 w 113"/>
                    <a:gd name="T27" fmla="*/ 113 h 114"/>
                    <a:gd name="T28" fmla="*/ 72 w 113"/>
                    <a:gd name="T29" fmla="*/ 113 h 114"/>
                    <a:gd name="T30" fmla="*/ 78 w 113"/>
                    <a:gd name="T31" fmla="*/ 111 h 114"/>
                    <a:gd name="T32" fmla="*/ 79 w 113"/>
                    <a:gd name="T33" fmla="*/ 104 h 114"/>
                    <a:gd name="T34" fmla="*/ 82 w 113"/>
                    <a:gd name="T35" fmla="*/ 98 h 114"/>
                    <a:gd name="T36" fmla="*/ 89 w 113"/>
                    <a:gd name="T37" fmla="*/ 100 h 114"/>
                    <a:gd name="T38" fmla="*/ 97 w 113"/>
                    <a:gd name="T39" fmla="*/ 100 h 114"/>
                    <a:gd name="T40" fmla="*/ 103 w 113"/>
                    <a:gd name="T41" fmla="*/ 95 h 114"/>
                    <a:gd name="T42" fmla="*/ 106 w 113"/>
                    <a:gd name="T43" fmla="*/ 90 h 114"/>
                    <a:gd name="T44" fmla="*/ 104 w 113"/>
                    <a:gd name="T45" fmla="*/ 83 h 114"/>
                    <a:gd name="T46" fmla="*/ 101 w 113"/>
                    <a:gd name="T47" fmla="*/ 77 h 114"/>
                    <a:gd name="T48" fmla="*/ 101 w 113"/>
                    <a:gd name="T49" fmla="*/ 72 h 114"/>
                    <a:gd name="T50" fmla="*/ 103 w 113"/>
                    <a:gd name="T51" fmla="*/ 66 h 114"/>
                    <a:gd name="T52" fmla="*/ 107 w 113"/>
                    <a:gd name="T53" fmla="*/ 62 h 114"/>
                    <a:gd name="T54" fmla="*/ 110 w 113"/>
                    <a:gd name="T55" fmla="*/ 58 h 114"/>
                    <a:gd name="T56" fmla="*/ 112 w 113"/>
                    <a:gd name="T57" fmla="*/ 50 h 114"/>
                    <a:gd name="T58" fmla="*/ 112 w 113"/>
                    <a:gd name="T59" fmla="*/ 41 h 114"/>
                    <a:gd name="T60" fmla="*/ 110 w 113"/>
                    <a:gd name="T61" fmla="*/ 33 h 114"/>
                    <a:gd name="T62" fmla="*/ 104 w 113"/>
                    <a:gd name="T63" fmla="*/ 27 h 114"/>
                    <a:gd name="T64" fmla="*/ 94 w 113"/>
                    <a:gd name="T65" fmla="*/ 25 h 114"/>
                    <a:gd name="T66" fmla="*/ 89 w 113"/>
                    <a:gd name="T67" fmla="*/ 25 h 114"/>
                    <a:gd name="T68" fmla="*/ 83 w 113"/>
                    <a:gd name="T69" fmla="*/ 22 h 114"/>
                    <a:gd name="T70" fmla="*/ 78 w 113"/>
                    <a:gd name="T71" fmla="*/ 21 h 114"/>
                    <a:gd name="T72" fmla="*/ 71 w 113"/>
                    <a:gd name="T73" fmla="*/ 22 h 114"/>
                    <a:gd name="T74" fmla="*/ 67 w 113"/>
                    <a:gd name="T75" fmla="*/ 23 h 114"/>
                    <a:gd name="T76" fmla="*/ 58 w 113"/>
                    <a:gd name="T77" fmla="*/ 22 h 114"/>
                    <a:gd name="T78" fmla="*/ 54 w 113"/>
                    <a:gd name="T79" fmla="*/ 16 h 114"/>
                    <a:gd name="T80" fmla="*/ 50 w 113"/>
                    <a:gd name="T81" fmla="*/ 9 h 114"/>
                    <a:gd name="T82" fmla="*/ 45 w 113"/>
                    <a:gd name="T83" fmla="*/ 5 h 114"/>
                    <a:gd name="T84" fmla="*/ 38 w 113"/>
                    <a:gd name="T85" fmla="*/ 1 h 114"/>
                    <a:gd name="T86" fmla="*/ 25 w 113"/>
                    <a:gd name="T87" fmla="*/ 0 h 114"/>
                    <a:gd name="T88" fmla="*/ 16 w 113"/>
                    <a:gd name="T89" fmla="*/ 0 h 114"/>
                    <a:gd name="T90" fmla="*/ 6 w 113"/>
                    <a:gd name="T91" fmla="*/ 3 h 114"/>
                    <a:gd name="T92" fmla="*/ 2 w 113"/>
                    <a:gd name="T93" fmla="*/ 7 h 114"/>
                    <a:gd name="T94" fmla="*/ 0 w 113"/>
                    <a:gd name="T95" fmla="*/ 11 h 114"/>
                    <a:gd name="T96" fmla="*/ 2 w 113"/>
                    <a:gd name="T97" fmla="*/ 15 h 114"/>
                    <a:gd name="T98" fmla="*/ 9 w 113"/>
                    <a:gd name="T99" fmla="*/ 3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3" h="114">
                      <a:moveTo>
                        <a:pt x="9" y="30"/>
                      </a:moveTo>
                      <a:lnTo>
                        <a:pt x="14" y="37"/>
                      </a:lnTo>
                      <a:lnTo>
                        <a:pt x="18" y="45"/>
                      </a:lnTo>
                      <a:lnTo>
                        <a:pt x="22" y="55"/>
                      </a:lnTo>
                      <a:lnTo>
                        <a:pt x="22" y="66"/>
                      </a:lnTo>
                      <a:lnTo>
                        <a:pt x="20" y="79"/>
                      </a:lnTo>
                      <a:lnTo>
                        <a:pt x="22" y="86"/>
                      </a:lnTo>
                      <a:lnTo>
                        <a:pt x="28" y="95"/>
                      </a:lnTo>
                      <a:lnTo>
                        <a:pt x="35" y="101"/>
                      </a:lnTo>
                      <a:lnTo>
                        <a:pt x="43" y="104"/>
                      </a:lnTo>
                      <a:lnTo>
                        <a:pt x="53" y="102"/>
                      </a:lnTo>
                      <a:lnTo>
                        <a:pt x="56" y="106"/>
                      </a:lnTo>
                      <a:lnTo>
                        <a:pt x="61" y="111"/>
                      </a:lnTo>
                      <a:lnTo>
                        <a:pt x="67" y="113"/>
                      </a:lnTo>
                      <a:lnTo>
                        <a:pt x="72" y="113"/>
                      </a:lnTo>
                      <a:lnTo>
                        <a:pt x="78" y="111"/>
                      </a:lnTo>
                      <a:lnTo>
                        <a:pt x="79" y="104"/>
                      </a:lnTo>
                      <a:lnTo>
                        <a:pt x="82" y="98"/>
                      </a:lnTo>
                      <a:lnTo>
                        <a:pt x="89" y="100"/>
                      </a:lnTo>
                      <a:lnTo>
                        <a:pt x="97" y="100"/>
                      </a:lnTo>
                      <a:lnTo>
                        <a:pt x="103" y="95"/>
                      </a:lnTo>
                      <a:lnTo>
                        <a:pt x="106" y="90"/>
                      </a:lnTo>
                      <a:lnTo>
                        <a:pt x="104" y="83"/>
                      </a:lnTo>
                      <a:lnTo>
                        <a:pt x="101" y="77"/>
                      </a:lnTo>
                      <a:lnTo>
                        <a:pt x="101" y="72"/>
                      </a:lnTo>
                      <a:lnTo>
                        <a:pt x="103" y="66"/>
                      </a:lnTo>
                      <a:lnTo>
                        <a:pt x="107" y="62"/>
                      </a:lnTo>
                      <a:lnTo>
                        <a:pt x="110" y="58"/>
                      </a:lnTo>
                      <a:lnTo>
                        <a:pt x="112" y="50"/>
                      </a:lnTo>
                      <a:lnTo>
                        <a:pt x="112" y="41"/>
                      </a:lnTo>
                      <a:lnTo>
                        <a:pt x="110" y="33"/>
                      </a:lnTo>
                      <a:lnTo>
                        <a:pt x="104" y="27"/>
                      </a:lnTo>
                      <a:lnTo>
                        <a:pt x="94" y="25"/>
                      </a:lnTo>
                      <a:lnTo>
                        <a:pt x="89" y="25"/>
                      </a:lnTo>
                      <a:lnTo>
                        <a:pt x="83" y="22"/>
                      </a:lnTo>
                      <a:lnTo>
                        <a:pt x="78" y="21"/>
                      </a:lnTo>
                      <a:lnTo>
                        <a:pt x="71" y="22"/>
                      </a:lnTo>
                      <a:lnTo>
                        <a:pt x="67" y="23"/>
                      </a:lnTo>
                      <a:lnTo>
                        <a:pt x="58" y="22"/>
                      </a:lnTo>
                      <a:lnTo>
                        <a:pt x="54" y="16"/>
                      </a:lnTo>
                      <a:lnTo>
                        <a:pt x="50" y="9"/>
                      </a:lnTo>
                      <a:lnTo>
                        <a:pt x="45" y="5"/>
                      </a:lnTo>
                      <a:lnTo>
                        <a:pt x="38" y="1"/>
                      </a:lnTo>
                      <a:lnTo>
                        <a:pt x="25" y="0"/>
                      </a:lnTo>
                      <a:lnTo>
                        <a:pt x="16" y="0"/>
                      </a:lnTo>
                      <a:lnTo>
                        <a:pt x="6" y="3"/>
                      </a:lnTo>
                      <a:lnTo>
                        <a:pt x="2" y="7"/>
                      </a:lnTo>
                      <a:lnTo>
                        <a:pt x="0" y="11"/>
                      </a:lnTo>
                      <a:lnTo>
                        <a:pt x="2" y="15"/>
                      </a:lnTo>
                      <a:lnTo>
                        <a:pt x="9" y="30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dirty="0"/>
                </a:p>
              </p:txBody>
            </p:sp>
            <p:sp>
              <p:nvSpPr>
                <p:cNvPr id="49" name="Freeform 25"/>
                <p:cNvSpPr>
                  <a:spLocks/>
                </p:cNvSpPr>
                <p:nvPr/>
              </p:nvSpPr>
              <p:spPr bwMode="gray">
                <a:xfrm>
                  <a:off x="2553" y="1264"/>
                  <a:ext cx="55" cy="85"/>
                </a:xfrm>
                <a:custGeom>
                  <a:avLst/>
                  <a:gdLst>
                    <a:gd name="T0" fmla="*/ 6 w 55"/>
                    <a:gd name="T1" fmla="*/ 37 h 85"/>
                    <a:gd name="T2" fmla="*/ 7 w 55"/>
                    <a:gd name="T3" fmla="*/ 51 h 85"/>
                    <a:gd name="T4" fmla="*/ 10 w 55"/>
                    <a:gd name="T5" fmla="*/ 65 h 85"/>
                    <a:gd name="T6" fmla="*/ 14 w 55"/>
                    <a:gd name="T7" fmla="*/ 72 h 85"/>
                    <a:gd name="T8" fmla="*/ 20 w 55"/>
                    <a:gd name="T9" fmla="*/ 79 h 85"/>
                    <a:gd name="T10" fmla="*/ 27 w 55"/>
                    <a:gd name="T11" fmla="*/ 83 h 85"/>
                    <a:gd name="T12" fmla="*/ 36 w 55"/>
                    <a:gd name="T13" fmla="*/ 84 h 85"/>
                    <a:gd name="T14" fmla="*/ 45 w 55"/>
                    <a:gd name="T15" fmla="*/ 82 h 85"/>
                    <a:gd name="T16" fmla="*/ 50 w 55"/>
                    <a:gd name="T17" fmla="*/ 75 h 85"/>
                    <a:gd name="T18" fmla="*/ 50 w 55"/>
                    <a:gd name="T19" fmla="*/ 63 h 85"/>
                    <a:gd name="T20" fmla="*/ 49 w 55"/>
                    <a:gd name="T21" fmla="*/ 54 h 85"/>
                    <a:gd name="T22" fmla="*/ 47 w 55"/>
                    <a:gd name="T23" fmla="*/ 47 h 85"/>
                    <a:gd name="T24" fmla="*/ 52 w 55"/>
                    <a:gd name="T25" fmla="*/ 40 h 85"/>
                    <a:gd name="T26" fmla="*/ 54 w 55"/>
                    <a:gd name="T27" fmla="*/ 32 h 85"/>
                    <a:gd name="T28" fmla="*/ 54 w 55"/>
                    <a:gd name="T29" fmla="*/ 21 h 85"/>
                    <a:gd name="T30" fmla="*/ 50 w 55"/>
                    <a:gd name="T31" fmla="*/ 9 h 85"/>
                    <a:gd name="T32" fmla="*/ 46 w 55"/>
                    <a:gd name="T33" fmla="*/ 3 h 85"/>
                    <a:gd name="T34" fmla="*/ 40 w 55"/>
                    <a:gd name="T35" fmla="*/ 0 h 85"/>
                    <a:gd name="T36" fmla="*/ 34 w 55"/>
                    <a:gd name="T37" fmla="*/ 1 h 85"/>
                    <a:gd name="T38" fmla="*/ 28 w 55"/>
                    <a:gd name="T39" fmla="*/ 7 h 85"/>
                    <a:gd name="T40" fmla="*/ 25 w 55"/>
                    <a:gd name="T41" fmla="*/ 11 h 85"/>
                    <a:gd name="T42" fmla="*/ 22 w 55"/>
                    <a:gd name="T43" fmla="*/ 12 h 85"/>
                    <a:gd name="T44" fmla="*/ 17 w 55"/>
                    <a:gd name="T45" fmla="*/ 9 h 85"/>
                    <a:gd name="T46" fmla="*/ 10 w 55"/>
                    <a:gd name="T47" fmla="*/ 9 h 85"/>
                    <a:gd name="T48" fmla="*/ 5 w 55"/>
                    <a:gd name="T49" fmla="*/ 12 h 85"/>
                    <a:gd name="T50" fmla="*/ 2 w 55"/>
                    <a:gd name="T51" fmla="*/ 18 h 85"/>
                    <a:gd name="T52" fmla="*/ 0 w 55"/>
                    <a:gd name="T53" fmla="*/ 26 h 85"/>
                    <a:gd name="T54" fmla="*/ 6 w 55"/>
                    <a:gd name="T55" fmla="*/ 37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5" h="85">
                      <a:moveTo>
                        <a:pt x="6" y="37"/>
                      </a:moveTo>
                      <a:lnTo>
                        <a:pt x="7" y="51"/>
                      </a:lnTo>
                      <a:lnTo>
                        <a:pt x="10" y="65"/>
                      </a:lnTo>
                      <a:lnTo>
                        <a:pt x="14" y="72"/>
                      </a:lnTo>
                      <a:lnTo>
                        <a:pt x="20" y="79"/>
                      </a:lnTo>
                      <a:lnTo>
                        <a:pt x="27" y="83"/>
                      </a:lnTo>
                      <a:lnTo>
                        <a:pt x="36" y="84"/>
                      </a:lnTo>
                      <a:lnTo>
                        <a:pt x="45" y="82"/>
                      </a:lnTo>
                      <a:lnTo>
                        <a:pt x="50" y="75"/>
                      </a:lnTo>
                      <a:lnTo>
                        <a:pt x="50" y="63"/>
                      </a:lnTo>
                      <a:lnTo>
                        <a:pt x="49" y="54"/>
                      </a:lnTo>
                      <a:lnTo>
                        <a:pt x="47" y="47"/>
                      </a:lnTo>
                      <a:lnTo>
                        <a:pt x="52" y="40"/>
                      </a:lnTo>
                      <a:lnTo>
                        <a:pt x="54" y="32"/>
                      </a:lnTo>
                      <a:lnTo>
                        <a:pt x="54" y="21"/>
                      </a:lnTo>
                      <a:lnTo>
                        <a:pt x="50" y="9"/>
                      </a:lnTo>
                      <a:lnTo>
                        <a:pt x="46" y="3"/>
                      </a:lnTo>
                      <a:lnTo>
                        <a:pt x="40" y="0"/>
                      </a:lnTo>
                      <a:lnTo>
                        <a:pt x="34" y="1"/>
                      </a:lnTo>
                      <a:lnTo>
                        <a:pt x="28" y="7"/>
                      </a:lnTo>
                      <a:lnTo>
                        <a:pt x="25" y="11"/>
                      </a:lnTo>
                      <a:lnTo>
                        <a:pt x="22" y="12"/>
                      </a:lnTo>
                      <a:lnTo>
                        <a:pt x="17" y="9"/>
                      </a:lnTo>
                      <a:lnTo>
                        <a:pt x="10" y="9"/>
                      </a:lnTo>
                      <a:lnTo>
                        <a:pt x="5" y="12"/>
                      </a:lnTo>
                      <a:lnTo>
                        <a:pt x="2" y="18"/>
                      </a:lnTo>
                      <a:lnTo>
                        <a:pt x="0" y="26"/>
                      </a:lnTo>
                      <a:lnTo>
                        <a:pt x="6" y="37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 dirty="0"/>
                </a:p>
              </p:txBody>
            </p:sp>
          </p:grpSp>
        </p:grpSp>
      </p:grpSp>
      <p:sp>
        <p:nvSpPr>
          <p:cNvPr id="73" name="Rechteck 72"/>
          <p:cNvSpPr/>
          <p:nvPr/>
        </p:nvSpPr>
        <p:spPr bwMode="gray">
          <a:xfrm>
            <a:off x="-1319816" y="1627187"/>
            <a:ext cx="1259457" cy="763588"/>
          </a:xfrm>
          <a:prstGeom prst="rect">
            <a:avLst/>
          </a:prstGeom>
          <a:solidFill>
            <a:srgbClr val="CCC6C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107696" rIns="0" bIns="107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1942" eaLnBrk="0" fontAlgn="base" hangingPunct="0">
              <a:spcAft>
                <a:spcPts val="600"/>
              </a:spcAft>
            </a:pPr>
            <a:r>
              <a:rPr lang="de-DE" sz="1600" dirty="0" smtClean="0">
                <a:solidFill>
                  <a:schemeClr val="tx2"/>
                </a:solidFill>
              </a:rPr>
              <a:t>Version 2</a:t>
            </a:r>
            <a:endParaRPr lang="de-DE" sz="1600" dirty="0">
              <a:solidFill>
                <a:schemeClr val="tx2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4362450" y="1627188"/>
            <a:ext cx="7242175" cy="4321175"/>
            <a:chOff x="4383088" y="1641475"/>
            <a:chExt cx="7242175" cy="4324349"/>
          </a:xfrm>
        </p:grpSpPr>
        <p:sp>
          <p:nvSpPr>
            <p:cNvPr id="23" name="Rechteck 22"/>
            <p:cNvSpPr/>
            <p:nvPr/>
          </p:nvSpPr>
          <p:spPr bwMode="gray">
            <a:xfrm>
              <a:off x="4383088" y="1641475"/>
              <a:ext cx="7242175" cy="4324349"/>
            </a:xfrm>
            <a:prstGeom prst="rect">
              <a:avLst/>
            </a:prstGeom>
            <a:solidFill>
              <a:schemeClr val="accent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ts val="600"/>
                </a:spcAft>
              </a:pPr>
              <a:endParaRPr lang="de-DE" sz="14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76" name="Text Box 143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677501" y="4946677"/>
              <a:ext cx="2036575" cy="726065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SGVHT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43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49</a:t>
              </a:r>
            </a:p>
          </p:txBody>
        </p:sp>
        <p:sp>
          <p:nvSpPr>
            <p:cNvPr id="77" name="Text Box 143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677501" y="3943014"/>
              <a:ext cx="2036575" cy="726065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RSGV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24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</a:t>
              </a: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30</a:t>
              </a:r>
              <a:endParaRPr kumimoji="1" lang="de-DE" sz="16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78" name="Text Box 143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677501" y="2939353"/>
              <a:ext cx="2036575" cy="726065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SVRP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18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23</a:t>
              </a:r>
            </a:p>
          </p:txBody>
        </p:sp>
        <p:sp>
          <p:nvSpPr>
            <p:cNvPr id="79" name="Text Box 143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677501" y="1935691"/>
              <a:ext cx="2036575" cy="726065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defPPr>
                <a:defRPr lang="de-DE"/>
              </a:defPPr>
              <a:lvl1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  <a:defRPr kumimoji="1" sz="1600" b="1">
                  <a:solidFill>
                    <a:schemeClr val="tx2"/>
                  </a:solidFill>
                  <a:latin typeface="Arial"/>
                </a:defRPr>
              </a:lvl1pPr>
              <a:lvl2pPr marL="1588">
                <a:spcBef>
                  <a:spcPct val="0"/>
                </a:spcBef>
                <a:defRPr sz="2400">
                  <a:latin typeface="Arial" charset="0"/>
                </a:defRPr>
              </a:lvl2pPr>
              <a:lvl3pPr marL="190500" indent="-187325">
                <a:spcBef>
                  <a:spcPct val="0"/>
                </a:spcBef>
                <a:defRPr sz="2400">
                  <a:latin typeface="Arial" charset="0"/>
                </a:defRPr>
              </a:lvl3pPr>
              <a:lvl4pPr>
                <a:spcBef>
                  <a:spcPct val="0"/>
                </a:spcBef>
                <a:defRPr sz="2400">
                  <a:latin typeface="Arial" charset="0"/>
                </a:defRPr>
              </a:lvl4pPr>
              <a:lvl5pPr>
                <a:spcBef>
                  <a:spcPct val="0"/>
                </a:spcBef>
                <a:defRPr sz="2400"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9pPr>
            </a:lstStyle>
            <a:p>
              <a:r>
                <a:rPr lang="de-DE" dirty="0"/>
                <a:t>SVN</a:t>
              </a:r>
            </a:p>
            <a:p>
              <a:r>
                <a:rPr lang="de-DE" dirty="0"/>
                <a:t>33 von 42</a:t>
              </a:r>
            </a:p>
          </p:txBody>
        </p:sp>
        <p:sp>
          <p:nvSpPr>
            <p:cNvPr id="74" name="Text Box 143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984862" y="2938218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 smtClean="0">
                  <a:solidFill>
                    <a:schemeClr val="tx2"/>
                  </a:solidFill>
                  <a:latin typeface="Arial"/>
                </a:rPr>
                <a:t>SVBW</a:t>
              </a:r>
              <a:br>
                <a:rPr kumimoji="1" lang="de-DE" sz="1600" b="1" dirty="0" smtClean="0">
                  <a:solidFill>
                    <a:schemeClr val="tx2"/>
                  </a:solidFill>
                  <a:latin typeface="Arial"/>
                </a:rPr>
              </a:b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22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50</a:t>
              </a:r>
            </a:p>
          </p:txBody>
        </p:sp>
        <p:sp>
          <p:nvSpPr>
            <p:cNvPr id="75" name="Text Box 143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984862" y="1934556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 err="1">
                  <a:solidFill>
                    <a:schemeClr val="tx2"/>
                  </a:solidFill>
                  <a:latin typeface="Arial"/>
                </a:rPr>
                <a:t>SVSaar</a:t>
              </a:r>
              <a:endParaRPr kumimoji="1" lang="de-DE" sz="1600" b="1" dirty="0">
                <a:solidFill>
                  <a:schemeClr val="tx2"/>
                </a:solidFill>
                <a:latin typeface="Arial"/>
              </a:endParaRP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5 von 6</a:t>
              </a:r>
            </a:p>
          </p:txBody>
        </p:sp>
        <p:sp>
          <p:nvSpPr>
            <p:cNvPr id="80" name="Text Box 143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984862" y="3941879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defPPr>
                <a:defRPr lang="de-DE"/>
              </a:defPPr>
              <a:lvl1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  <a:defRPr kumimoji="1" sz="1600" b="1">
                  <a:solidFill>
                    <a:schemeClr val="tx2"/>
                  </a:solidFill>
                  <a:latin typeface="Arial"/>
                </a:defRPr>
              </a:lvl1pPr>
              <a:lvl2pPr marL="1588">
                <a:spcBef>
                  <a:spcPct val="0"/>
                </a:spcBef>
                <a:defRPr sz="2400">
                  <a:latin typeface="Arial" charset="0"/>
                </a:defRPr>
              </a:lvl2pPr>
              <a:lvl3pPr marL="190500" indent="-187325">
                <a:spcBef>
                  <a:spcPct val="0"/>
                </a:spcBef>
                <a:defRPr sz="2400">
                  <a:latin typeface="Arial" charset="0"/>
                </a:defRPr>
              </a:lvl3pPr>
              <a:lvl4pPr>
                <a:spcBef>
                  <a:spcPct val="0"/>
                </a:spcBef>
                <a:defRPr sz="2400">
                  <a:latin typeface="Arial" charset="0"/>
                </a:defRPr>
              </a:lvl4pPr>
              <a:lvl5pPr>
                <a:spcBef>
                  <a:spcPct val="0"/>
                </a:spcBef>
                <a:defRPr sz="2400"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9pPr>
            </a:lstStyle>
            <a:p>
              <a:r>
                <a:rPr lang="de-DE" dirty="0"/>
                <a:t>HSGV</a:t>
              </a:r>
            </a:p>
            <a:p>
              <a:r>
                <a:rPr lang="de-DE" dirty="0"/>
                <a:t>2 von 2</a:t>
              </a:r>
            </a:p>
          </p:txBody>
        </p:sp>
        <p:sp>
          <p:nvSpPr>
            <p:cNvPr id="81" name="Text Box 143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984862" y="4945542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SVWL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32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60</a:t>
              </a:r>
            </a:p>
          </p:txBody>
        </p:sp>
        <p:sp>
          <p:nvSpPr>
            <p:cNvPr id="82" name="Text Box 143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9293249" y="1934556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defPPr>
                <a:defRPr lang="de-DE"/>
              </a:defPPr>
              <a:lvl1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  <a:defRPr kumimoji="1" sz="1600" b="1">
                  <a:solidFill>
                    <a:schemeClr val="tx2"/>
                  </a:solidFill>
                  <a:latin typeface="Arial"/>
                </a:defRPr>
              </a:lvl1pPr>
              <a:lvl2pPr marL="1588">
                <a:spcBef>
                  <a:spcPct val="0"/>
                </a:spcBef>
                <a:defRPr sz="2400">
                  <a:latin typeface="Arial" charset="0"/>
                </a:defRPr>
              </a:lvl2pPr>
              <a:lvl3pPr marL="190500" indent="-187325">
                <a:spcBef>
                  <a:spcPct val="0"/>
                </a:spcBef>
                <a:defRPr sz="2400">
                  <a:latin typeface="Arial" charset="0"/>
                </a:defRPr>
              </a:lvl3pPr>
              <a:lvl4pPr>
                <a:spcBef>
                  <a:spcPct val="0"/>
                </a:spcBef>
                <a:defRPr sz="2400">
                  <a:latin typeface="Arial" charset="0"/>
                </a:defRPr>
              </a:lvl4pPr>
              <a:lvl5pPr>
                <a:spcBef>
                  <a:spcPct val="0"/>
                </a:spcBef>
                <a:defRPr sz="2400"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Arial" charset="0"/>
                </a:defRPr>
              </a:lvl9pPr>
            </a:lstStyle>
            <a:p>
              <a:r>
                <a:rPr lang="de-DE" dirty="0"/>
                <a:t>SGVSH</a:t>
              </a:r>
            </a:p>
            <a:p>
              <a:r>
                <a:rPr lang="de-DE" dirty="0"/>
                <a:t>10 von 11</a:t>
              </a:r>
            </a:p>
          </p:txBody>
        </p:sp>
        <p:sp>
          <p:nvSpPr>
            <p:cNvPr id="83" name="Text Box 143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9293249" y="2938218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OSV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 smtClean="0">
                  <a:solidFill>
                    <a:schemeClr val="tx2"/>
                  </a:solidFill>
                  <a:latin typeface="Arial"/>
                </a:rPr>
                <a:t>29 </a:t>
              </a: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von 45</a:t>
              </a:r>
            </a:p>
          </p:txBody>
        </p:sp>
        <p:sp>
          <p:nvSpPr>
            <p:cNvPr id="84" name="Text Box 143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9293249" y="3941879"/>
              <a:ext cx="2037600" cy="727200"/>
            </a:xfrm>
            <a:prstGeom prst="rect">
              <a:avLst/>
            </a:prstGeom>
            <a:solidFill>
              <a:schemeClr val="bg1"/>
            </a:solidFill>
            <a:ln w="3175" cap="sq" algn="ctr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anchor="ctr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588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90500" indent="-187325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b="1" dirty="0">
                  <a:solidFill>
                    <a:schemeClr val="tx2"/>
                  </a:solidFill>
                  <a:latin typeface="Arial"/>
                </a:rPr>
                <a:t>SVB</a:t>
              </a:r>
            </a:p>
            <a:p>
              <a:pPr algn="ctr">
                <a:spcBef>
                  <a:spcPts val="0"/>
                </a:spcBef>
                <a:spcAft>
                  <a:spcPts val="200"/>
                </a:spcAft>
                <a:buClr>
                  <a:srgbClr val="E12A22"/>
                </a:buClr>
                <a:buSzPct val="100000"/>
              </a:pPr>
              <a:r>
                <a:rPr kumimoji="1" lang="de-DE" sz="1600" dirty="0">
                  <a:solidFill>
                    <a:schemeClr val="tx2"/>
                  </a:solidFill>
                  <a:latin typeface="Arial"/>
                </a:rPr>
                <a:t>45 von 65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0479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2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 txBox="1">
            <a:spLocks/>
          </p:cNvSpPr>
          <p:nvPr/>
        </p:nvSpPr>
        <p:spPr bwMode="gray">
          <a:xfrm>
            <a:off x="1842193" y="1714500"/>
            <a:ext cx="9762431" cy="98005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vert="horz" wrap="square" lIns="36000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6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sz="1400" b="0" kern="0" dirty="0" smtClean="0"/>
              <a:t>Bereitstellung Data-Analytics-Selektionen (Anwendungsfälle) in </a:t>
            </a:r>
            <a:r>
              <a:rPr lang="de-DE" sz="1400" b="0" kern="0" dirty="0" err="1" smtClean="0"/>
              <a:t>OSPlus</a:t>
            </a:r>
            <a:r>
              <a:rPr lang="de-DE" sz="1400" b="0" kern="0" dirty="0" smtClean="0"/>
              <a:t> zur Ausspielung in allen relevanten Kanälen</a:t>
            </a:r>
            <a:endParaRPr lang="de-DE" sz="1400" b="0" kern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Was sind </a:t>
            </a:r>
            <a:r>
              <a:rPr lang="de-DE" dirty="0" smtClean="0"/>
              <a:t>aktuell die konkreten Leistungen (PK/IK) aus </a:t>
            </a:r>
            <a:r>
              <a:rPr lang="de-DE" dirty="0" err="1" smtClean="0"/>
              <a:t>DataAnalytics</a:t>
            </a:r>
            <a:r>
              <a:rPr lang="de-DE" dirty="0" smtClean="0"/>
              <a:t> für die Sparkassen ? 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: Februar 2019</a:t>
            </a:r>
          </a:p>
          <a:p>
            <a:r>
              <a:rPr lang="de-DE" dirty="0"/>
              <a:t>OE: 51020101-10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588963" y="3211775"/>
            <a:ext cx="1152000" cy="1152000"/>
            <a:chOff x="588959" y="3219164"/>
            <a:chExt cx="1152000" cy="1154684"/>
          </a:xfrm>
        </p:grpSpPr>
        <p:sp>
          <p:nvSpPr>
            <p:cNvPr id="8" name="Inhaltsplatzhalter 2"/>
            <p:cNvSpPr txBox="1">
              <a:spLocks/>
            </p:cNvSpPr>
            <p:nvPr/>
          </p:nvSpPr>
          <p:spPr bwMode="gray">
            <a:xfrm>
              <a:off x="588959" y="3219164"/>
              <a:ext cx="1152000" cy="11546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sz="1600" b="1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de-DE" b="0" kern="0" dirty="0"/>
            </a:p>
          </p:txBody>
        </p:sp>
        <p:sp>
          <p:nvSpPr>
            <p:cNvPr id="11" name="Freeform 342"/>
            <p:cNvSpPr/>
            <p:nvPr/>
          </p:nvSpPr>
          <p:spPr bwMode="gray">
            <a:xfrm>
              <a:off x="752098" y="3443501"/>
              <a:ext cx="823624" cy="706926"/>
            </a:xfrm>
            <a:custGeom>
              <a:avLst/>
              <a:gdLst/>
              <a:ahLst/>
              <a:cxnLst/>
              <a:rect l="l" t="t" r="r" b="b"/>
              <a:pathLst>
                <a:path w="504824" h="433054">
                  <a:moveTo>
                    <a:pt x="432708" y="0"/>
                  </a:moveTo>
                  <a:cubicBezTo>
                    <a:pt x="442472" y="0"/>
                    <a:pt x="450924" y="3568"/>
                    <a:pt x="458061" y="10705"/>
                  </a:cubicBezTo>
                  <a:cubicBezTo>
                    <a:pt x="465197" y="17842"/>
                    <a:pt x="468766" y="26293"/>
                    <a:pt x="468766" y="36059"/>
                  </a:cubicBezTo>
                  <a:lnTo>
                    <a:pt x="468766" y="144236"/>
                  </a:lnTo>
                  <a:cubicBezTo>
                    <a:pt x="478720" y="144236"/>
                    <a:pt x="487218" y="147757"/>
                    <a:pt x="494262" y="154800"/>
                  </a:cubicBezTo>
                  <a:cubicBezTo>
                    <a:pt x="501303" y="161843"/>
                    <a:pt x="504824" y="170341"/>
                    <a:pt x="504824" y="180295"/>
                  </a:cubicBezTo>
                  <a:cubicBezTo>
                    <a:pt x="504824" y="190248"/>
                    <a:pt x="501303" y="198747"/>
                    <a:pt x="494262" y="205789"/>
                  </a:cubicBezTo>
                  <a:cubicBezTo>
                    <a:pt x="487218" y="212832"/>
                    <a:pt x="478720" y="216354"/>
                    <a:pt x="468766" y="216354"/>
                  </a:cubicBezTo>
                  <a:lnTo>
                    <a:pt x="468766" y="324530"/>
                  </a:lnTo>
                  <a:cubicBezTo>
                    <a:pt x="468766" y="334296"/>
                    <a:pt x="465197" y="342748"/>
                    <a:pt x="458061" y="349884"/>
                  </a:cubicBezTo>
                  <a:cubicBezTo>
                    <a:pt x="450924" y="357021"/>
                    <a:pt x="442472" y="360589"/>
                    <a:pt x="432708" y="360589"/>
                  </a:cubicBezTo>
                  <a:cubicBezTo>
                    <a:pt x="354392" y="295420"/>
                    <a:pt x="278142" y="259737"/>
                    <a:pt x="203958" y="253539"/>
                  </a:cubicBezTo>
                  <a:cubicBezTo>
                    <a:pt x="193066" y="257108"/>
                    <a:pt x="184520" y="263305"/>
                    <a:pt x="178324" y="272132"/>
                  </a:cubicBezTo>
                  <a:cubicBezTo>
                    <a:pt x="172125" y="280959"/>
                    <a:pt x="169215" y="290396"/>
                    <a:pt x="169589" y="300444"/>
                  </a:cubicBezTo>
                  <a:cubicBezTo>
                    <a:pt x="169965" y="310492"/>
                    <a:pt x="173722" y="319178"/>
                    <a:pt x="180858" y="326502"/>
                  </a:cubicBezTo>
                  <a:cubicBezTo>
                    <a:pt x="177102" y="332700"/>
                    <a:pt x="174942" y="338851"/>
                    <a:pt x="174378" y="344954"/>
                  </a:cubicBezTo>
                  <a:cubicBezTo>
                    <a:pt x="173815" y="351058"/>
                    <a:pt x="174378" y="356504"/>
                    <a:pt x="176069" y="361294"/>
                  </a:cubicBezTo>
                  <a:cubicBezTo>
                    <a:pt x="177760" y="366083"/>
                    <a:pt x="180904" y="371247"/>
                    <a:pt x="185506" y="376788"/>
                  </a:cubicBezTo>
                  <a:cubicBezTo>
                    <a:pt x="190107" y="382328"/>
                    <a:pt x="194615" y="387023"/>
                    <a:pt x="199029" y="390873"/>
                  </a:cubicBezTo>
                  <a:cubicBezTo>
                    <a:pt x="203443" y="394723"/>
                    <a:pt x="209218" y="399465"/>
                    <a:pt x="216353" y="405099"/>
                  </a:cubicBezTo>
                  <a:cubicBezTo>
                    <a:pt x="210908" y="415992"/>
                    <a:pt x="200436" y="423786"/>
                    <a:pt x="184942" y="428481"/>
                  </a:cubicBezTo>
                  <a:cubicBezTo>
                    <a:pt x="169449" y="433177"/>
                    <a:pt x="153625" y="434257"/>
                    <a:pt x="137474" y="431721"/>
                  </a:cubicBezTo>
                  <a:cubicBezTo>
                    <a:pt x="121323" y="429186"/>
                    <a:pt x="108928" y="423974"/>
                    <a:pt x="100289" y="416086"/>
                  </a:cubicBezTo>
                  <a:cubicBezTo>
                    <a:pt x="98974" y="411767"/>
                    <a:pt x="96203" y="403550"/>
                    <a:pt x="91979" y="391437"/>
                  </a:cubicBezTo>
                  <a:cubicBezTo>
                    <a:pt x="87753" y="379323"/>
                    <a:pt x="84747" y="370449"/>
                    <a:pt x="82963" y="364815"/>
                  </a:cubicBezTo>
                  <a:cubicBezTo>
                    <a:pt x="81180" y="359181"/>
                    <a:pt x="79020" y="350823"/>
                    <a:pt x="76484" y="339743"/>
                  </a:cubicBezTo>
                  <a:cubicBezTo>
                    <a:pt x="73949" y="328662"/>
                    <a:pt x="72540" y="319178"/>
                    <a:pt x="72259" y="311290"/>
                  </a:cubicBezTo>
                  <a:cubicBezTo>
                    <a:pt x="71977" y="303402"/>
                    <a:pt x="72306" y="294153"/>
                    <a:pt x="73245" y="283541"/>
                  </a:cubicBezTo>
                  <a:cubicBezTo>
                    <a:pt x="74184" y="272930"/>
                    <a:pt x="76250" y="262554"/>
                    <a:pt x="79442" y="252412"/>
                  </a:cubicBezTo>
                  <a:lnTo>
                    <a:pt x="45073" y="252412"/>
                  </a:lnTo>
                  <a:cubicBezTo>
                    <a:pt x="32678" y="252412"/>
                    <a:pt x="22067" y="247999"/>
                    <a:pt x="13240" y="239172"/>
                  </a:cubicBezTo>
                  <a:cubicBezTo>
                    <a:pt x="4414" y="230345"/>
                    <a:pt x="0" y="219734"/>
                    <a:pt x="0" y="207339"/>
                  </a:cubicBezTo>
                  <a:lnTo>
                    <a:pt x="0" y="153250"/>
                  </a:lnTo>
                  <a:cubicBezTo>
                    <a:pt x="0" y="140855"/>
                    <a:pt x="4414" y="130244"/>
                    <a:pt x="13240" y="121417"/>
                  </a:cubicBezTo>
                  <a:cubicBezTo>
                    <a:pt x="22067" y="112590"/>
                    <a:pt x="32678" y="108177"/>
                    <a:pt x="45073" y="108177"/>
                  </a:cubicBezTo>
                  <a:lnTo>
                    <a:pt x="180295" y="108177"/>
                  </a:lnTo>
                  <a:cubicBezTo>
                    <a:pt x="261991" y="108177"/>
                    <a:pt x="346129" y="72118"/>
                    <a:pt x="432708" y="0"/>
                  </a:cubicBezTo>
                  <a:close/>
                  <a:moveTo>
                    <a:pt x="432708" y="45637"/>
                  </a:moveTo>
                  <a:cubicBezTo>
                    <a:pt x="358711" y="102355"/>
                    <a:pt x="286593" y="134564"/>
                    <a:pt x="216353" y="142264"/>
                  </a:cubicBezTo>
                  <a:lnTo>
                    <a:pt x="216353" y="218326"/>
                  </a:lnTo>
                  <a:cubicBezTo>
                    <a:pt x="287157" y="226213"/>
                    <a:pt x="359274" y="258234"/>
                    <a:pt x="432708" y="314389"/>
                  </a:cubicBezTo>
                  <a:lnTo>
                    <a:pt x="432708" y="4563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190" tIns="60624" rIns="121190" bIns="60624" rtlCol="0" anchor="ctr"/>
            <a:lstStyle/>
            <a:p>
              <a:pPr algn="ctr" defTabSz="1211953">
                <a:defRPr/>
              </a:pPr>
              <a:endParaRPr lang="de-DE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588963" y="4796363"/>
            <a:ext cx="1152000" cy="1152000"/>
            <a:chOff x="551980" y="4811141"/>
            <a:chExt cx="1193912" cy="1154684"/>
          </a:xfrm>
        </p:grpSpPr>
        <p:sp>
          <p:nvSpPr>
            <p:cNvPr id="9" name="Inhaltsplatzhalter 2"/>
            <p:cNvSpPr txBox="1">
              <a:spLocks/>
            </p:cNvSpPr>
            <p:nvPr/>
          </p:nvSpPr>
          <p:spPr bwMode="gray">
            <a:xfrm>
              <a:off x="588963" y="4811141"/>
              <a:ext cx="1152000" cy="11546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sz="1600" b="1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de-DE" b="0" kern="0" dirty="0"/>
            </a:p>
          </p:txBody>
        </p:sp>
        <p:pic>
          <p:nvPicPr>
            <p:cNvPr id="12" name="Picture 2" descr="C:\Users\projicz\Desktop\SR-DSGVO-Stempel_rot_rgb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rot="20572728">
              <a:off x="551980" y="4879247"/>
              <a:ext cx="1193912" cy="9741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uppieren 2"/>
          <p:cNvGrpSpPr/>
          <p:nvPr/>
        </p:nvGrpSpPr>
        <p:grpSpPr>
          <a:xfrm>
            <a:off x="588963" y="1627188"/>
            <a:ext cx="1152000" cy="1152000"/>
            <a:chOff x="588959" y="1627187"/>
            <a:chExt cx="1152000" cy="1154684"/>
          </a:xfrm>
        </p:grpSpPr>
        <p:sp>
          <p:nvSpPr>
            <p:cNvPr id="23" name="Inhaltsplatzhalter 2"/>
            <p:cNvSpPr txBox="1">
              <a:spLocks/>
            </p:cNvSpPr>
            <p:nvPr/>
          </p:nvSpPr>
          <p:spPr bwMode="gray">
            <a:xfrm>
              <a:off x="588959" y="1627187"/>
              <a:ext cx="1152000" cy="11546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sz="1600" b="1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endParaRPr lang="de-DE" b="0" kern="0" dirty="0"/>
            </a:p>
          </p:txBody>
        </p:sp>
        <p:sp>
          <p:nvSpPr>
            <p:cNvPr id="10" name="Freeform 245"/>
            <p:cNvSpPr/>
            <p:nvPr/>
          </p:nvSpPr>
          <p:spPr bwMode="gray">
            <a:xfrm>
              <a:off x="752098" y="1863910"/>
              <a:ext cx="841196" cy="682154"/>
            </a:xfrm>
            <a:custGeom>
              <a:avLst/>
              <a:gdLst>
                <a:gd name="connsiteX0" fmla="*/ 409325 w 576943"/>
                <a:gd name="connsiteY0" fmla="*/ 36059 h 432707"/>
                <a:gd name="connsiteX1" fmla="*/ 531870 w 576943"/>
                <a:gd name="connsiteY1" fmla="*/ 36059 h 432707"/>
                <a:gd name="connsiteX2" fmla="*/ 538349 w 576943"/>
                <a:gd name="connsiteY2" fmla="*/ 38594 h 432707"/>
                <a:gd name="connsiteX3" fmla="*/ 540884 w 576943"/>
                <a:gd name="connsiteY3" fmla="*/ 45074 h 432707"/>
                <a:gd name="connsiteX4" fmla="*/ 540884 w 576943"/>
                <a:gd name="connsiteY4" fmla="*/ 167618 h 432707"/>
                <a:gd name="connsiteX5" fmla="*/ 535391 w 576943"/>
                <a:gd name="connsiteY5" fmla="*/ 175928 h 432707"/>
                <a:gd name="connsiteX6" fmla="*/ 525390 w 576943"/>
                <a:gd name="connsiteY6" fmla="*/ 173815 h 432707"/>
                <a:gd name="connsiteX7" fmla="*/ 491304 w 576943"/>
                <a:gd name="connsiteY7" fmla="*/ 139728 h 432707"/>
                <a:gd name="connsiteX8" fmla="*/ 312981 w 576943"/>
                <a:gd name="connsiteY8" fmla="*/ 318051 h 432707"/>
                <a:gd name="connsiteX9" fmla="*/ 306501 w 576943"/>
                <a:gd name="connsiteY9" fmla="*/ 320868 h 432707"/>
                <a:gd name="connsiteX10" fmla="*/ 300022 w 576943"/>
                <a:gd name="connsiteY10" fmla="*/ 318051 h 432707"/>
                <a:gd name="connsiteX11" fmla="*/ 234384 w 576943"/>
                <a:gd name="connsiteY11" fmla="*/ 252412 h 432707"/>
                <a:gd name="connsiteX12" fmla="*/ 117192 w 576943"/>
                <a:gd name="connsiteY12" fmla="*/ 369604 h 432707"/>
                <a:gd name="connsiteX13" fmla="*/ 63104 w 576943"/>
                <a:gd name="connsiteY13" fmla="*/ 315515 h 432707"/>
                <a:gd name="connsiteX14" fmla="*/ 227904 w 576943"/>
                <a:gd name="connsiteY14" fmla="*/ 150715 h 432707"/>
                <a:gd name="connsiteX15" fmla="*/ 234384 w 576943"/>
                <a:gd name="connsiteY15" fmla="*/ 147898 h 432707"/>
                <a:gd name="connsiteX16" fmla="*/ 240863 w 576943"/>
                <a:gd name="connsiteY16" fmla="*/ 150715 h 432707"/>
                <a:gd name="connsiteX17" fmla="*/ 306501 w 576943"/>
                <a:gd name="connsiteY17" fmla="*/ 216353 h 432707"/>
                <a:gd name="connsiteX18" fmla="*/ 437215 w 576943"/>
                <a:gd name="connsiteY18" fmla="*/ 85640 h 432707"/>
                <a:gd name="connsiteX19" fmla="*/ 403128 w 576943"/>
                <a:gd name="connsiteY19" fmla="*/ 51553 h 432707"/>
                <a:gd name="connsiteX20" fmla="*/ 401015 w 576943"/>
                <a:gd name="connsiteY20" fmla="*/ 41552 h 432707"/>
                <a:gd name="connsiteX21" fmla="*/ 409325 w 576943"/>
                <a:gd name="connsiteY21" fmla="*/ 36059 h 432707"/>
                <a:gd name="connsiteX22" fmla="*/ 0 w 576943"/>
                <a:gd name="connsiteY22" fmla="*/ 0 h 432707"/>
                <a:gd name="connsiteX23" fmla="*/ 36059 w 576943"/>
                <a:gd name="connsiteY23" fmla="*/ 0 h 432707"/>
                <a:gd name="connsiteX24" fmla="*/ 36059 w 576943"/>
                <a:gd name="connsiteY24" fmla="*/ 396648 h 432707"/>
                <a:gd name="connsiteX25" fmla="*/ 576943 w 576943"/>
                <a:gd name="connsiteY25" fmla="*/ 396648 h 432707"/>
                <a:gd name="connsiteX26" fmla="*/ 576943 w 576943"/>
                <a:gd name="connsiteY26" fmla="*/ 432707 h 432707"/>
                <a:gd name="connsiteX27" fmla="*/ 0 w 576943"/>
                <a:gd name="connsiteY27" fmla="*/ 432707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76943" h="432707">
                  <a:moveTo>
                    <a:pt x="409325" y="36059"/>
                  </a:moveTo>
                  <a:lnTo>
                    <a:pt x="531870" y="36059"/>
                  </a:lnTo>
                  <a:cubicBezTo>
                    <a:pt x="534499" y="36059"/>
                    <a:pt x="536659" y="36904"/>
                    <a:pt x="538349" y="38594"/>
                  </a:cubicBezTo>
                  <a:cubicBezTo>
                    <a:pt x="540039" y="40284"/>
                    <a:pt x="540884" y="42444"/>
                    <a:pt x="540884" y="45074"/>
                  </a:cubicBezTo>
                  <a:lnTo>
                    <a:pt x="540884" y="167618"/>
                  </a:lnTo>
                  <a:cubicBezTo>
                    <a:pt x="540884" y="171562"/>
                    <a:pt x="539054" y="174332"/>
                    <a:pt x="535391" y="175928"/>
                  </a:cubicBezTo>
                  <a:cubicBezTo>
                    <a:pt x="531729" y="177524"/>
                    <a:pt x="528395" y="176820"/>
                    <a:pt x="525390" y="173815"/>
                  </a:cubicBezTo>
                  <a:lnTo>
                    <a:pt x="491304" y="139728"/>
                  </a:lnTo>
                  <a:lnTo>
                    <a:pt x="312981" y="318051"/>
                  </a:lnTo>
                  <a:cubicBezTo>
                    <a:pt x="311103" y="319929"/>
                    <a:pt x="308943" y="320868"/>
                    <a:pt x="306501" y="320868"/>
                  </a:cubicBezTo>
                  <a:cubicBezTo>
                    <a:pt x="304060" y="320868"/>
                    <a:pt x="301900" y="319929"/>
                    <a:pt x="300022" y="318051"/>
                  </a:cubicBezTo>
                  <a:lnTo>
                    <a:pt x="234384" y="252412"/>
                  </a:lnTo>
                  <a:lnTo>
                    <a:pt x="117192" y="369604"/>
                  </a:lnTo>
                  <a:lnTo>
                    <a:pt x="63104" y="315515"/>
                  </a:lnTo>
                  <a:lnTo>
                    <a:pt x="227904" y="150715"/>
                  </a:lnTo>
                  <a:cubicBezTo>
                    <a:pt x="229783" y="148837"/>
                    <a:pt x="231942" y="147898"/>
                    <a:pt x="234384" y="147898"/>
                  </a:cubicBezTo>
                  <a:cubicBezTo>
                    <a:pt x="236825" y="147898"/>
                    <a:pt x="238985" y="148837"/>
                    <a:pt x="240863" y="150715"/>
                  </a:cubicBezTo>
                  <a:lnTo>
                    <a:pt x="306501" y="216353"/>
                  </a:lnTo>
                  <a:lnTo>
                    <a:pt x="437215" y="85640"/>
                  </a:lnTo>
                  <a:lnTo>
                    <a:pt x="403128" y="51553"/>
                  </a:lnTo>
                  <a:cubicBezTo>
                    <a:pt x="400123" y="48548"/>
                    <a:pt x="399419" y="45214"/>
                    <a:pt x="401015" y="41552"/>
                  </a:cubicBezTo>
                  <a:cubicBezTo>
                    <a:pt x="402611" y="37890"/>
                    <a:pt x="405382" y="36059"/>
                    <a:pt x="409325" y="36059"/>
                  </a:cubicBezTo>
                  <a:close/>
                  <a:moveTo>
                    <a:pt x="0" y="0"/>
                  </a:moveTo>
                  <a:lnTo>
                    <a:pt x="36059" y="0"/>
                  </a:lnTo>
                  <a:lnTo>
                    <a:pt x="36059" y="396648"/>
                  </a:lnTo>
                  <a:lnTo>
                    <a:pt x="576943" y="396648"/>
                  </a:lnTo>
                  <a:lnTo>
                    <a:pt x="576943" y="432707"/>
                  </a:lnTo>
                  <a:lnTo>
                    <a:pt x="0" y="4327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21190" tIns="60624" rIns="121190" bIns="60624" rtlCol="0" anchor="ctr">
              <a:noAutofit/>
            </a:bodyPr>
            <a:lstStyle/>
            <a:p>
              <a:pPr algn="ctr" defTabSz="1211953">
                <a:defRPr/>
              </a:pPr>
              <a:endParaRPr lang="de-DE" dirty="0">
                <a:solidFill>
                  <a:prstClr val="white"/>
                </a:solidFill>
              </a:endParaRPr>
            </a:p>
          </p:txBody>
        </p:sp>
      </p:grpSp>
      <p:sp>
        <p:nvSpPr>
          <p:cNvPr id="19" name="Inhaltsplatzhalter 2"/>
          <p:cNvSpPr txBox="1">
            <a:spLocks/>
          </p:cNvSpPr>
          <p:nvPr/>
        </p:nvSpPr>
        <p:spPr bwMode="gray">
          <a:xfrm>
            <a:off x="1842193" y="4898454"/>
            <a:ext cx="9762358" cy="98005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  <a:extLst/>
        </p:spPr>
        <p:txBody>
          <a:bodyPr vert="horz" wrap="square" lIns="36000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6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sz="1400" b="0" kern="0" dirty="0"/>
              <a:t>Zentrale Bereitstellung von rechtsrelevanten Informationen für die Nutzbarkeit der Anwendungsfälle </a:t>
            </a:r>
            <a:r>
              <a:rPr lang="de-DE" sz="1400" b="0" kern="0" dirty="0" smtClean="0"/>
              <a:t/>
            </a:r>
            <a:br>
              <a:rPr lang="de-DE" sz="1400" b="0" kern="0" dirty="0" smtClean="0"/>
            </a:br>
            <a:r>
              <a:rPr lang="de-DE" sz="1400" b="0" kern="0" dirty="0" smtClean="0"/>
              <a:t>vor </a:t>
            </a:r>
            <a:r>
              <a:rPr lang="de-DE" sz="1400" b="0" kern="0" dirty="0"/>
              <a:t>Echt-Einsatz</a:t>
            </a:r>
          </a:p>
        </p:txBody>
      </p:sp>
      <p:sp>
        <p:nvSpPr>
          <p:cNvPr id="20" name="Inhaltsplatzhalter 2"/>
          <p:cNvSpPr txBox="1">
            <a:spLocks/>
          </p:cNvSpPr>
          <p:nvPr/>
        </p:nvSpPr>
        <p:spPr bwMode="gray">
          <a:xfrm>
            <a:off x="1842193" y="3306477"/>
            <a:ext cx="9762431" cy="98005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  <a:extLst/>
        </p:spPr>
        <p:txBody>
          <a:bodyPr vert="horz" wrap="square" lIns="36000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12A22"/>
              </a:buClr>
              <a:buFont typeface="Arial" pitchFamily="34" charset="0"/>
              <a:defRPr sz="1600" b="1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79388" indent="-1793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9D958D"/>
              </a:buClr>
              <a:buSzPct val="150000"/>
              <a:buFont typeface="Arial" panose="020B0604020202020204" pitchFamily="34" charset="0"/>
              <a:buChar char="▪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540000" indent="-18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6pPr>
            <a:lvl7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7pPr>
            <a:lvl8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8pPr>
            <a:lvl9pPr marL="180000" indent="-18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SzPct val="70000"/>
              <a:buFont typeface="Arial" panose="020B0604020202020204" pitchFamily="34" charset="0"/>
              <a:buChar char="►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sz="1400" b="0" kern="0" dirty="0"/>
              <a:t>Einführungs- und Kommunikationsunterstützung für das Institut im bewährten Rollenmodell </a:t>
            </a:r>
            <a:r>
              <a:rPr lang="de-DE" sz="1400" b="0" kern="0" dirty="0" smtClean="0"/>
              <a:t/>
            </a:r>
            <a:br>
              <a:rPr lang="de-DE" sz="1400" b="0" kern="0" dirty="0" smtClean="0"/>
            </a:br>
            <a:r>
              <a:rPr lang="de-DE" sz="1400" b="0" kern="0" dirty="0" smtClean="0"/>
              <a:t>(</a:t>
            </a:r>
            <a:r>
              <a:rPr lang="de-DE" sz="1400" b="0" kern="0" dirty="0"/>
              <a:t>Webinare, Schulungsunterlagen, Support usw.)</a:t>
            </a:r>
          </a:p>
        </p:txBody>
      </p:sp>
      <p:sp>
        <p:nvSpPr>
          <p:cNvPr id="24" name="Gleichschenkliges Dreieck 23"/>
          <p:cNvSpPr/>
          <p:nvPr/>
        </p:nvSpPr>
        <p:spPr bwMode="gray">
          <a:xfrm rot="5400000">
            <a:off x="1387442" y="2076290"/>
            <a:ext cx="1140398" cy="27076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  <p:sp>
        <p:nvSpPr>
          <p:cNvPr id="25" name="Gleichschenkliges Dreieck 24"/>
          <p:cNvSpPr/>
          <p:nvPr/>
        </p:nvSpPr>
        <p:spPr bwMode="gray">
          <a:xfrm rot="5400000">
            <a:off x="1387442" y="3653979"/>
            <a:ext cx="1140398" cy="27076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  <p:sp>
        <p:nvSpPr>
          <p:cNvPr id="26" name="Gleichschenkliges Dreieck 25"/>
          <p:cNvSpPr/>
          <p:nvPr/>
        </p:nvSpPr>
        <p:spPr bwMode="gray">
          <a:xfrm rot="5400000">
            <a:off x="1387442" y="5245956"/>
            <a:ext cx="1140398" cy="27076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109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2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meinsam zur Wertpapierkampagne (PK/IK)</a:t>
            </a:r>
            <a:br>
              <a:rPr lang="de-DE" dirty="0" smtClean="0"/>
            </a:br>
            <a:r>
              <a:rPr lang="de-DE" b="0" dirty="0" smtClean="0"/>
              <a:t>Von der Selektion bis zum Kundenkontakt</a:t>
            </a:r>
            <a:endParaRPr lang="de-DE" b="0" dirty="0"/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</a:t>
            </a:r>
            <a:r>
              <a:rPr lang="de-DE" dirty="0" smtClean="0"/>
              <a:t>: Februar 2019</a:t>
            </a:r>
            <a:endParaRPr lang="de-DE" dirty="0"/>
          </a:p>
          <a:p>
            <a:r>
              <a:rPr lang="de-DE" dirty="0" smtClean="0"/>
              <a:t>OE</a:t>
            </a:r>
            <a:r>
              <a:rPr lang="de-DE" dirty="0"/>
              <a:t>: </a:t>
            </a:r>
            <a:r>
              <a:rPr lang="de-DE" dirty="0" smtClean="0"/>
              <a:t>51020101-10</a:t>
            </a:r>
            <a:endParaRPr lang="de-DE" dirty="0"/>
          </a:p>
        </p:txBody>
      </p:sp>
      <p:grpSp>
        <p:nvGrpSpPr>
          <p:cNvPr id="2" name="Gruppieren 1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88963" y="1627188"/>
            <a:ext cx="10175670" cy="4321175"/>
            <a:chOff x="534988" y="1484784"/>
            <a:chExt cx="11125200" cy="4724400"/>
          </a:xfrm>
        </p:grpSpPr>
        <p:pic>
          <p:nvPicPr>
            <p:cNvPr id="34819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988" y="1484784"/>
              <a:ext cx="11125200" cy="4724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hteck 10"/>
            <p:cNvSpPr/>
            <p:nvPr/>
          </p:nvSpPr>
          <p:spPr bwMode="gray">
            <a:xfrm>
              <a:off x="6241603" y="1484784"/>
              <a:ext cx="2664296" cy="1872208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Aft>
                  <a:spcPts val="600"/>
                </a:spcAft>
              </a:pPr>
              <a:endParaRPr lang="de-DE" sz="14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 bwMode="gray">
            <a:xfrm>
              <a:off x="6097587" y="1628800"/>
              <a:ext cx="280831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DekaBank</a:t>
              </a:r>
              <a:r>
                <a:rPr kumimoji="0" lang="de-DE" sz="1600" b="1" i="0" u="none" strike="noStrike" kern="0" cap="none" spc="0" normalizeH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/ DSV</a:t>
              </a: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5" name="Gruppieren 14"/>
            <p:cNvGrpSpPr/>
            <p:nvPr/>
          </p:nvGrpSpPr>
          <p:grpSpPr>
            <a:xfrm>
              <a:off x="6457627" y="2007651"/>
              <a:ext cx="2088232" cy="1256444"/>
              <a:chOff x="4030185" y="3123390"/>
              <a:chExt cx="2143401" cy="2130376"/>
            </a:xfrm>
          </p:grpSpPr>
          <p:grpSp>
            <p:nvGrpSpPr>
              <p:cNvPr id="16" name="Gruppierung 64"/>
              <p:cNvGrpSpPr>
                <a:grpSpLocks/>
              </p:cNvGrpSpPr>
              <p:nvPr/>
            </p:nvGrpSpPr>
            <p:grpSpPr bwMode="auto">
              <a:xfrm>
                <a:off x="4030185" y="3123390"/>
                <a:ext cx="2143401" cy="1592363"/>
                <a:chOff x="4674665" y="1563767"/>
                <a:chExt cx="2143905" cy="1592647"/>
              </a:xfrm>
            </p:grpSpPr>
            <p:sp>
              <p:nvSpPr>
                <p:cNvPr id="21" name="Dreieck 65"/>
                <p:cNvSpPr>
                  <a:spLocks noChangeAspect="1"/>
                </p:cNvSpPr>
                <p:nvPr/>
              </p:nvSpPr>
              <p:spPr>
                <a:xfrm>
                  <a:off x="5111608" y="1735246"/>
                  <a:ext cx="1349692" cy="908212"/>
                </a:xfrm>
                <a:prstGeom prst="triangle">
                  <a:avLst/>
                </a:prstGeom>
                <a:noFill/>
                <a:ln w="381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/>
                </a:p>
              </p:txBody>
            </p:sp>
            <p:grpSp>
              <p:nvGrpSpPr>
                <p:cNvPr id="22" name="Gruppierung 81"/>
                <p:cNvGrpSpPr>
                  <a:grpSpLocks/>
                </p:cNvGrpSpPr>
                <p:nvPr/>
              </p:nvGrpSpPr>
              <p:grpSpPr bwMode="auto">
                <a:xfrm>
                  <a:off x="5975410" y="2413230"/>
                  <a:ext cx="843160" cy="606533"/>
                  <a:chOff x="5615370" y="987882"/>
                  <a:chExt cx="843160" cy="606533"/>
                </a:xfrm>
              </p:grpSpPr>
              <p:grpSp>
                <p:nvGrpSpPr>
                  <p:cNvPr id="39" name="Group 96"/>
                  <p:cNvGrpSpPr>
                    <a:grpSpLocks/>
                  </p:cNvGrpSpPr>
                  <p:nvPr/>
                </p:nvGrpSpPr>
                <p:grpSpPr bwMode="auto">
                  <a:xfrm>
                    <a:off x="5809094" y="987882"/>
                    <a:ext cx="414434" cy="414412"/>
                    <a:chOff x="6824643" y="2508418"/>
                    <a:chExt cx="548215" cy="548186"/>
                  </a:xfrm>
                </p:grpSpPr>
                <p:sp>
                  <p:nvSpPr>
                    <p:cNvPr id="41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6824643" y="2508418"/>
                      <a:ext cx="548215" cy="548186"/>
                    </a:xfrm>
                    <a:custGeom>
                      <a:avLst/>
                      <a:gdLst>
                        <a:gd name="T0" fmla="*/ 1806 w 3405"/>
                        <a:gd name="T1" fmla="*/ 3 h 3405"/>
                        <a:gd name="T2" fmla="*/ 2009 w 3405"/>
                        <a:gd name="T3" fmla="*/ 28 h 3405"/>
                        <a:gd name="T4" fmla="*/ 2203 w 3405"/>
                        <a:gd name="T5" fmla="*/ 74 h 3405"/>
                        <a:gd name="T6" fmla="*/ 2388 w 3405"/>
                        <a:gd name="T7" fmla="*/ 143 h 3405"/>
                        <a:gd name="T8" fmla="*/ 2562 w 3405"/>
                        <a:gd name="T9" fmla="*/ 232 h 3405"/>
                        <a:gd name="T10" fmla="*/ 2724 w 3405"/>
                        <a:gd name="T11" fmla="*/ 341 h 3405"/>
                        <a:gd name="T12" fmla="*/ 2872 w 3405"/>
                        <a:gd name="T13" fmla="*/ 465 h 3405"/>
                        <a:gd name="T14" fmla="*/ 3005 w 3405"/>
                        <a:gd name="T15" fmla="*/ 606 h 3405"/>
                        <a:gd name="T16" fmla="*/ 3121 w 3405"/>
                        <a:gd name="T17" fmla="*/ 760 h 3405"/>
                        <a:gd name="T18" fmla="*/ 3219 w 3405"/>
                        <a:gd name="T19" fmla="*/ 929 h 3405"/>
                        <a:gd name="T20" fmla="*/ 3299 w 3405"/>
                        <a:gd name="T21" fmla="*/ 1108 h 3405"/>
                        <a:gd name="T22" fmla="*/ 3357 w 3405"/>
                        <a:gd name="T23" fmla="*/ 1298 h 3405"/>
                        <a:gd name="T24" fmla="*/ 3393 w 3405"/>
                        <a:gd name="T25" fmla="*/ 1497 h 3405"/>
                        <a:gd name="T26" fmla="*/ 3405 w 3405"/>
                        <a:gd name="T27" fmla="*/ 1703 h 3405"/>
                        <a:gd name="T28" fmla="*/ 3393 w 3405"/>
                        <a:gd name="T29" fmla="*/ 1908 h 3405"/>
                        <a:gd name="T30" fmla="*/ 3357 w 3405"/>
                        <a:gd name="T31" fmla="*/ 2107 h 3405"/>
                        <a:gd name="T32" fmla="*/ 3299 w 3405"/>
                        <a:gd name="T33" fmla="*/ 2297 h 3405"/>
                        <a:gd name="T34" fmla="*/ 3219 w 3405"/>
                        <a:gd name="T35" fmla="*/ 2476 h 3405"/>
                        <a:gd name="T36" fmla="*/ 3121 w 3405"/>
                        <a:gd name="T37" fmla="*/ 2645 h 3405"/>
                        <a:gd name="T38" fmla="*/ 3005 w 3405"/>
                        <a:gd name="T39" fmla="*/ 2799 h 3405"/>
                        <a:gd name="T40" fmla="*/ 2872 w 3405"/>
                        <a:gd name="T41" fmla="*/ 2940 h 3405"/>
                        <a:gd name="T42" fmla="*/ 2724 w 3405"/>
                        <a:gd name="T43" fmla="*/ 3065 h 3405"/>
                        <a:gd name="T44" fmla="*/ 2562 w 3405"/>
                        <a:gd name="T45" fmla="*/ 3173 h 3405"/>
                        <a:gd name="T46" fmla="*/ 2388 w 3405"/>
                        <a:gd name="T47" fmla="*/ 3262 h 3405"/>
                        <a:gd name="T48" fmla="*/ 2203 w 3405"/>
                        <a:gd name="T49" fmla="*/ 3331 h 3405"/>
                        <a:gd name="T50" fmla="*/ 2009 w 3405"/>
                        <a:gd name="T51" fmla="*/ 3377 h 3405"/>
                        <a:gd name="T52" fmla="*/ 1806 w 3405"/>
                        <a:gd name="T53" fmla="*/ 3402 h 3405"/>
                        <a:gd name="T54" fmla="*/ 1598 w 3405"/>
                        <a:gd name="T55" fmla="*/ 3402 h 3405"/>
                        <a:gd name="T56" fmla="*/ 1396 w 3405"/>
                        <a:gd name="T57" fmla="*/ 3377 h 3405"/>
                        <a:gd name="T58" fmla="*/ 1202 w 3405"/>
                        <a:gd name="T59" fmla="*/ 3331 h 3405"/>
                        <a:gd name="T60" fmla="*/ 1017 w 3405"/>
                        <a:gd name="T61" fmla="*/ 3262 h 3405"/>
                        <a:gd name="T62" fmla="*/ 843 w 3405"/>
                        <a:gd name="T63" fmla="*/ 3173 h 3405"/>
                        <a:gd name="T64" fmla="*/ 681 w 3405"/>
                        <a:gd name="T65" fmla="*/ 3065 h 3405"/>
                        <a:gd name="T66" fmla="*/ 533 w 3405"/>
                        <a:gd name="T67" fmla="*/ 2940 h 3405"/>
                        <a:gd name="T68" fmla="*/ 400 w 3405"/>
                        <a:gd name="T69" fmla="*/ 2799 h 3405"/>
                        <a:gd name="T70" fmla="*/ 284 w 3405"/>
                        <a:gd name="T71" fmla="*/ 2645 h 3405"/>
                        <a:gd name="T72" fmla="*/ 186 w 3405"/>
                        <a:gd name="T73" fmla="*/ 2476 h 3405"/>
                        <a:gd name="T74" fmla="*/ 106 w 3405"/>
                        <a:gd name="T75" fmla="*/ 2297 h 3405"/>
                        <a:gd name="T76" fmla="*/ 48 w 3405"/>
                        <a:gd name="T77" fmla="*/ 2107 h 3405"/>
                        <a:gd name="T78" fmla="*/ 12 w 3405"/>
                        <a:gd name="T79" fmla="*/ 1908 h 3405"/>
                        <a:gd name="T80" fmla="*/ 0 w 3405"/>
                        <a:gd name="T81" fmla="*/ 1703 h 3405"/>
                        <a:gd name="T82" fmla="*/ 12 w 3405"/>
                        <a:gd name="T83" fmla="*/ 1497 h 3405"/>
                        <a:gd name="T84" fmla="*/ 48 w 3405"/>
                        <a:gd name="T85" fmla="*/ 1298 h 3405"/>
                        <a:gd name="T86" fmla="*/ 106 w 3405"/>
                        <a:gd name="T87" fmla="*/ 1108 h 3405"/>
                        <a:gd name="T88" fmla="*/ 186 w 3405"/>
                        <a:gd name="T89" fmla="*/ 929 h 3405"/>
                        <a:gd name="T90" fmla="*/ 284 w 3405"/>
                        <a:gd name="T91" fmla="*/ 760 h 3405"/>
                        <a:gd name="T92" fmla="*/ 400 w 3405"/>
                        <a:gd name="T93" fmla="*/ 606 h 3405"/>
                        <a:gd name="T94" fmla="*/ 533 w 3405"/>
                        <a:gd name="T95" fmla="*/ 465 h 3405"/>
                        <a:gd name="T96" fmla="*/ 681 w 3405"/>
                        <a:gd name="T97" fmla="*/ 341 h 3405"/>
                        <a:gd name="T98" fmla="*/ 843 w 3405"/>
                        <a:gd name="T99" fmla="*/ 232 h 3405"/>
                        <a:gd name="T100" fmla="*/ 1017 w 3405"/>
                        <a:gd name="T101" fmla="*/ 143 h 3405"/>
                        <a:gd name="T102" fmla="*/ 1202 w 3405"/>
                        <a:gd name="T103" fmla="*/ 74 h 3405"/>
                        <a:gd name="T104" fmla="*/ 1396 w 3405"/>
                        <a:gd name="T105" fmla="*/ 28 h 3405"/>
                        <a:gd name="T106" fmla="*/ 1598 w 3405"/>
                        <a:gd name="T107" fmla="*/ 3 h 34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405" h="3405">
                          <a:moveTo>
                            <a:pt x="1701" y="0"/>
                          </a:moveTo>
                          <a:lnTo>
                            <a:pt x="1806" y="3"/>
                          </a:lnTo>
                          <a:lnTo>
                            <a:pt x="1908" y="12"/>
                          </a:lnTo>
                          <a:lnTo>
                            <a:pt x="2009" y="28"/>
                          </a:lnTo>
                          <a:lnTo>
                            <a:pt x="2107" y="48"/>
                          </a:lnTo>
                          <a:lnTo>
                            <a:pt x="2203" y="74"/>
                          </a:lnTo>
                          <a:lnTo>
                            <a:pt x="2297" y="106"/>
                          </a:lnTo>
                          <a:lnTo>
                            <a:pt x="2388" y="143"/>
                          </a:lnTo>
                          <a:lnTo>
                            <a:pt x="2476" y="186"/>
                          </a:lnTo>
                          <a:lnTo>
                            <a:pt x="2562" y="232"/>
                          </a:lnTo>
                          <a:lnTo>
                            <a:pt x="2645" y="284"/>
                          </a:lnTo>
                          <a:lnTo>
                            <a:pt x="2724" y="341"/>
                          </a:lnTo>
                          <a:lnTo>
                            <a:pt x="2799" y="400"/>
                          </a:lnTo>
                          <a:lnTo>
                            <a:pt x="2872" y="465"/>
                          </a:lnTo>
                          <a:lnTo>
                            <a:pt x="2940" y="533"/>
                          </a:lnTo>
                          <a:lnTo>
                            <a:pt x="3005" y="606"/>
                          </a:lnTo>
                          <a:lnTo>
                            <a:pt x="3065" y="681"/>
                          </a:lnTo>
                          <a:lnTo>
                            <a:pt x="3121" y="760"/>
                          </a:lnTo>
                          <a:lnTo>
                            <a:pt x="3173" y="843"/>
                          </a:lnTo>
                          <a:lnTo>
                            <a:pt x="3219" y="929"/>
                          </a:lnTo>
                          <a:lnTo>
                            <a:pt x="3262" y="1017"/>
                          </a:lnTo>
                          <a:lnTo>
                            <a:pt x="3299" y="1108"/>
                          </a:lnTo>
                          <a:lnTo>
                            <a:pt x="3331" y="1202"/>
                          </a:lnTo>
                          <a:lnTo>
                            <a:pt x="3357" y="1298"/>
                          </a:lnTo>
                          <a:lnTo>
                            <a:pt x="3377" y="1396"/>
                          </a:lnTo>
                          <a:lnTo>
                            <a:pt x="3393" y="1497"/>
                          </a:lnTo>
                          <a:lnTo>
                            <a:pt x="3402" y="1598"/>
                          </a:lnTo>
                          <a:lnTo>
                            <a:pt x="3405" y="1703"/>
                          </a:lnTo>
                          <a:lnTo>
                            <a:pt x="3402" y="1807"/>
                          </a:lnTo>
                          <a:lnTo>
                            <a:pt x="3393" y="1908"/>
                          </a:lnTo>
                          <a:lnTo>
                            <a:pt x="3377" y="2009"/>
                          </a:lnTo>
                          <a:lnTo>
                            <a:pt x="3357" y="2107"/>
                          </a:lnTo>
                          <a:lnTo>
                            <a:pt x="3331" y="2203"/>
                          </a:lnTo>
                          <a:lnTo>
                            <a:pt x="3299" y="2297"/>
                          </a:lnTo>
                          <a:lnTo>
                            <a:pt x="3262" y="2388"/>
                          </a:lnTo>
                          <a:lnTo>
                            <a:pt x="3219" y="2476"/>
                          </a:lnTo>
                          <a:lnTo>
                            <a:pt x="3173" y="2562"/>
                          </a:lnTo>
                          <a:lnTo>
                            <a:pt x="3121" y="2645"/>
                          </a:lnTo>
                          <a:lnTo>
                            <a:pt x="3065" y="2724"/>
                          </a:lnTo>
                          <a:lnTo>
                            <a:pt x="3005" y="2799"/>
                          </a:lnTo>
                          <a:lnTo>
                            <a:pt x="2940" y="2872"/>
                          </a:lnTo>
                          <a:lnTo>
                            <a:pt x="2872" y="2940"/>
                          </a:lnTo>
                          <a:lnTo>
                            <a:pt x="2799" y="3005"/>
                          </a:lnTo>
                          <a:lnTo>
                            <a:pt x="2724" y="3065"/>
                          </a:lnTo>
                          <a:lnTo>
                            <a:pt x="2645" y="3121"/>
                          </a:lnTo>
                          <a:lnTo>
                            <a:pt x="2562" y="3173"/>
                          </a:lnTo>
                          <a:lnTo>
                            <a:pt x="2476" y="3219"/>
                          </a:lnTo>
                          <a:lnTo>
                            <a:pt x="2388" y="3262"/>
                          </a:lnTo>
                          <a:lnTo>
                            <a:pt x="2297" y="3299"/>
                          </a:lnTo>
                          <a:lnTo>
                            <a:pt x="2203" y="3331"/>
                          </a:lnTo>
                          <a:lnTo>
                            <a:pt x="2107" y="3357"/>
                          </a:lnTo>
                          <a:lnTo>
                            <a:pt x="2009" y="3377"/>
                          </a:lnTo>
                          <a:lnTo>
                            <a:pt x="1908" y="3393"/>
                          </a:lnTo>
                          <a:lnTo>
                            <a:pt x="1806" y="3402"/>
                          </a:lnTo>
                          <a:lnTo>
                            <a:pt x="1701" y="3405"/>
                          </a:lnTo>
                          <a:lnTo>
                            <a:pt x="1598" y="3402"/>
                          </a:lnTo>
                          <a:lnTo>
                            <a:pt x="1497" y="3393"/>
                          </a:lnTo>
                          <a:lnTo>
                            <a:pt x="1396" y="3377"/>
                          </a:lnTo>
                          <a:lnTo>
                            <a:pt x="1298" y="3357"/>
                          </a:lnTo>
                          <a:lnTo>
                            <a:pt x="1202" y="3331"/>
                          </a:lnTo>
                          <a:lnTo>
                            <a:pt x="1108" y="3299"/>
                          </a:lnTo>
                          <a:lnTo>
                            <a:pt x="1017" y="3262"/>
                          </a:lnTo>
                          <a:lnTo>
                            <a:pt x="929" y="3219"/>
                          </a:lnTo>
                          <a:lnTo>
                            <a:pt x="843" y="3173"/>
                          </a:lnTo>
                          <a:lnTo>
                            <a:pt x="760" y="3121"/>
                          </a:lnTo>
                          <a:lnTo>
                            <a:pt x="681" y="3065"/>
                          </a:lnTo>
                          <a:lnTo>
                            <a:pt x="606" y="3005"/>
                          </a:lnTo>
                          <a:lnTo>
                            <a:pt x="533" y="2940"/>
                          </a:lnTo>
                          <a:lnTo>
                            <a:pt x="465" y="2872"/>
                          </a:lnTo>
                          <a:lnTo>
                            <a:pt x="400" y="2799"/>
                          </a:lnTo>
                          <a:lnTo>
                            <a:pt x="341" y="2724"/>
                          </a:lnTo>
                          <a:lnTo>
                            <a:pt x="284" y="2645"/>
                          </a:lnTo>
                          <a:lnTo>
                            <a:pt x="232" y="2562"/>
                          </a:lnTo>
                          <a:lnTo>
                            <a:pt x="186" y="2476"/>
                          </a:lnTo>
                          <a:lnTo>
                            <a:pt x="143" y="2388"/>
                          </a:lnTo>
                          <a:lnTo>
                            <a:pt x="106" y="2297"/>
                          </a:lnTo>
                          <a:lnTo>
                            <a:pt x="74" y="2203"/>
                          </a:lnTo>
                          <a:lnTo>
                            <a:pt x="48" y="2107"/>
                          </a:lnTo>
                          <a:lnTo>
                            <a:pt x="28" y="2009"/>
                          </a:lnTo>
                          <a:lnTo>
                            <a:pt x="12" y="1908"/>
                          </a:lnTo>
                          <a:lnTo>
                            <a:pt x="3" y="1807"/>
                          </a:lnTo>
                          <a:lnTo>
                            <a:pt x="0" y="1703"/>
                          </a:lnTo>
                          <a:lnTo>
                            <a:pt x="3" y="1598"/>
                          </a:lnTo>
                          <a:lnTo>
                            <a:pt x="12" y="1497"/>
                          </a:lnTo>
                          <a:lnTo>
                            <a:pt x="28" y="1396"/>
                          </a:lnTo>
                          <a:lnTo>
                            <a:pt x="48" y="1298"/>
                          </a:lnTo>
                          <a:lnTo>
                            <a:pt x="74" y="1202"/>
                          </a:lnTo>
                          <a:lnTo>
                            <a:pt x="106" y="1108"/>
                          </a:lnTo>
                          <a:lnTo>
                            <a:pt x="143" y="1017"/>
                          </a:lnTo>
                          <a:lnTo>
                            <a:pt x="186" y="929"/>
                          </a:lnTo>
                          <a:lnTo>
                            <a:pt x="232" y="843"/>
                          </a:lnTo>
                          <a:lnTo>
                            <a:pt x="284" y="760"/>
                          </a:lnTo>
                          <a:lnTo>
                            <a:pt x="341" y="681"/>
                          </a:lnTo>
                          <a:lnTo>
                            <a:pt x="400" y="606"/>
                          </a:lnTo>
                          <a:lnTo>
                            <a:pt x="465" y="533"/>
                          </a:lnTo>
                          <a:lnTo>
                            <a:pt x="533" y="465"/>
                          </a:lnTo>
                          <a:lnTo>
                            <a:pt x="606" y="400"/>
                          </a:lnTo>
                          <a:lnTo>
                            <a:pt x="681" y="341"/>
                          </a:lnTo>
                          <a:lnTo>
                            <a:pt x="760" y="284"/>
                          </a:lnTo>
                          <a:lnTo>
                            <a:pt x="843" y="232"/>
                          </a:lnTo>
                          <a:lnTo>
                            <a:pt x="929" y="186"/>
                          </a:lnTo>
                          <a:lnTo>
                            <a:pt x="1017" y="143"/>
                          </a:lnTo>
                          <a:lnTo>
                            <a:pt x="1108" y="106"/>
                          </a:lnTo>
                          <a:lnTo>
                            <a:pt x="1202" y="74"/>
                          </a:lnTo>
                          <a:lnTo>
                            <a:pt x="1298" y="48"/>
                          </a:lnTo>
                          <a:lnTo>
                            <a:pt x="1396" y="28"/>
                          </a:lnTo>
                          <a:lnTo>
                            <a:pt x="1497" y="12"/>
                          </a:lnTo>
                          <a:lnTo>
                            <a:pt x="1598" y="3"/>
                          </a:lnTo>
                          <a:lnTo>
                            <a:pt x="1701" y="0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42" name="Freeform 19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935966" y="2682746"/>
                      <a:ext cx="325570" cy="199530"/>
                    </a:xfrm>
                    <a:custGeom>
                      <a:avLst/>
                      <a:gdLst>
                        <a:gd name="T0" fmla="*/ 726 w 2084"/>
                        <a:gd name="T1" fmla="*/ 1150 h 1262"/>
                        <a:gd name="T2" fmla="*/ 726 w 2084"/>
                        <a:gd name="T3" fmla="*/ 1156 h 1262"/>
                        <a:gd name="T4" fmla="*/ 734 w 2084"/>
                        <a:gd name="T5" fmla="*/ 1177 h 1262"/>
                        <a:gd name="T6" fmla="*/ 1330 w 2084"/>
                        <a:gd name="T7" fmla="*/ 1185 h 1262"/>
                        <a:gd name="T8" fmla="*/ 1356 w 2084"/>
                        <a:gd name="T9" fmla="*/ 1169 h 1262"/>
                        <a:gd name="T10" fmla="*/ 1358 w 2084"/>
                        <a:gd name="T11" fmla="*/ 1155 h 1262"/>
                        <a:gd name="T12" fmla="*/ 1358 w 2084"/>
                        <a:gd name="T13" fmla="*/ 1148 h 1262"/>
                        <a:gd name="T14" fmla="*/ 1899 w 2084"/>
                        <a:gd name="T15" fmla="*/ 1137 h 1262"/>
                        <a:gd name="T16" fmla="*/ 1878 w 2084"/>
                        <a:gd name="T17" fmla="*/ 1151 h 1262"/>
                        <a:gd name="T18" fmla="*/ 1883 w 2084"/>
                        <a:gd name="T19" fmla="*/ 1177 h 1262"/>
                        <a:gd name="T20" fmla="*/ 1908 w 2084"/>
                        <a:gd name="T21" fmla="*/ 1182 h 1262"/>
                        <a:gd name="T22" fmla="*/ 1923 w 2084"/>
                        <a:gd name="T23" fmla="*/ 1161 h 1262"/>
                        <a:gd name="T24" fmla="*/ 1908 w 2084"/>
                        <a:gd name="T25" fmla="*/ 1139 h 1262"/>
                        <a:gd name="T26" fmla="*/ 1783 w 2084"/>
                        <a:gd name="T27" fmla="*/ 1139 h 1262"/>
                        <a:gd name="T28" fmla="*/ 1768 w 2084"/>
                        <a:gd name="T29" fmla="*/ 1161 h 1262"/>
                        <a:gd name="T30" fmla="*/ 1783 w 2084"/>
                        <a:gd name="T31" fmla="*/ 1182 h 1262"/>
                        <a:gd name="T32" fmla="*/ 1808 w 2084"/>
                        <a:gd name="T33" fmla="*/ 1177 h 1262"/>
                        <a:gd name="T34" fmla="*/ 1813 w 2084"/>
                        <a:gd name="T35" fmla="*/ 1151 h 1262"/>
                        <a:gd name="T36" fmla="*/ 1791 w 2084"/>
                        <a:gd name="T37" fmla="*/ 1137 h 1262"/>
                        <a:gd name="T38" fmla="*/ 1667 w 2084"/>
                        <a:gd name="T39" fmla="*/ 1144 h 1262"/>
                        <a:gd name="T40" fmla="*/ 1662 w 2084"/>
                        <a:gd name="T41" fmla="*/ 1170 h 1262"/>
                        <a:gd name="T42" fmla="*/ 1684 w 2084"/>
                        <a:gd name="T43" fmla="*/ 1184 h 1262"/>
                        <a:gd name="T44" fmla="*/ 1706 w 2084"/>
                        <a:gd name="T45" fmla="*/ 1170 h 1262"/>
                        <a:gd name="T46" fmla="*/ 1700 w 2084"/>
                        <a:gd name="T47" fmla="*/ 1144 h 1262"/>
                        <a:gd name="T48" fmla="*/ 946 w 2084"/>
                        <a:gd name="T49" fmla="*/ 412 h 1262"/>
                        <a:gd name="T50" fmla="*/ 946 w 2084"/>
                        <a:gd name="T51" fmla="*/ 412 h 1262"/>
                        <a:gd name="T52" fmla="*/ 1129 w 2084"/>
                        <a:gd name="T53" fmla="*/ 280 h 1262"/>
                        <a:gd name="T54" fmla="*/ 1241 w 2084"/>
                        <a:gd name="T55" fmla="*/ 336 h 1262"/>
                        <a:gd name="T56" fmla="*/ 1323 w 2084"/>
                        <a:gd name="T57" fmla="*/ 429 h 1262"/>
                        <a:gd name="T58" fmla="*/ 1364 w 2084"/>
                        <a:gd name="T59" fmla="*/ 550 h 1262"/>
                        <a:gd name="T60" fmla="*/ 1356 w 2084"/>
                        <a:gd name="T61" fmla="*/ 680 h 1262"/>
                        <a:gd name="T62" fmla="*/ 1300 w 2084"/>
                        <a:gd name="T63" fmla="*/ 793 h 1262"/>
                        <a:gd name="T64" fmla="*/ 1207 w 2084"/>
                        <a:gd name="T65" fmla="*/ 875 h 1262"/>
                        <a:gd name="T66" fmla="*/ 1086 w 2084"/>
                        <a:gd name="T67" fmla="*/ 916 h 1262"/>
                        <a:gd name="T68" fmla="*/ 955 w 2084"/>
                        <a:gd name="T69" fmla="*/ 908 h 1262"/>
                        <a:gd name="T70" fmla="*/ 843 w 2084"/>
                        <a:gd name="T71" fmla="*/ 851 h 1262"/>
                        <a:gd name="T72" fmla="*/ 761 w 2084"/>
                        <a:gd name="T73" fmla="*/ 759 h 1262"/>
                        <a:gd name="T74" fmla="*/ 720 w 2084"/>
                        <a:gd name="T75" fmla="*/ 638 h 1262"/>
                        <a:gd name="T76" fmla="*/ 728 w 2084"/>
                        <a:gd name="T77" fmla="*/ 507 h 1262"/>
                        <a:gd name="T78" fmla="*/ 784 w 2084"/>
                        <a:gd name="T79" fmla="*/ 395 h 1262"/>
                        <a:gd name="T80" fmla="*/ 877 w 2084"/>
                        <a:gd name="T81" fmla="*/ 313 h 1262"/>
                        <a:gd name="T82" fmla="*/ 998 w 2084"/>
                        <a:gd name="T83" fmla="*/ 270 h 1262"/>
                        <a:gd name="T84" fmla="*/ 375 w 2084"/>
                        <a:gd name="T85" fmla="*/ 131 h 1262"/>
                        <a:gd name="T86" fmla="*/ 374 w 2084"/>
                        <a:gd name="T87" fmla="*/ 1027 h 1262"/>
                        <a:gd name="T88" fmla="*/ 1710 w 2084"/>
                        <a:gd name="T89" fmla="*/ 132 h 1262"/>
                        <a:gd name="T90" fmla="*/ 377 w 2084"/>
                        <a:gd name="T91" fmla="*/ 131 h 1262"/>
                        <a:gd name="T92" fmla="*/ 1815 w 2084"/>
                        <a:gd name="T93" fmla="*/ 4 h 1262"/>
                        <a:gd name="T94" fmla="*/ 1850 w 2084"/>
                        <a:gd name="T95" fmla="*/ 39 h 1262"/>
                        <a:gd name="T96" fmla="*/ 2010 w 2084"/>
                        <a:gd name="T97" fmla="*/ 1068 h 1262"/>
                        <a:gd name="T98" fmla="*/ 2062 w 2084"/>
                        <a:gd name="T99" fmla="*/ 1089 h 1262"/>
                        <a:gd name="T100" fmla="*/ 2084 w 2084"/>
                        <a:gd name="T101" fmla="*/ 1142 h 1262"/>
                        <a:gd name="T102" fmla="*/ 2073 w 2084"/>
                        <a:gd name="T103" fmla="*/ 1225 h 1262"/>
                        <a:gd name="T104" fmla="*/ 2030 w 2084"/>
                        <a:gd name="T105" fmla="*/ 1258 h 1262"/>
                        <a:gd name="T106" fmla="*/ 54 w 2084"/>
                        <a:gd name="T107" fmla="*/ 1258 h 1262"/>
                        <a:gd name="T108" fmla="*/ 11 w 2084"/>
                        <a:gd name="T109" fmla="*/ 1225 h 1262"/>
                        <a:gd name="T110" fmla="*/ 0 w 2084"/>
                        <a:gd name="T111" fmla="*/ 1142 h 1262"/>
                        <a:gd name="T112" fmla="*/ 22 w 2084"/>
                        <a:gd name="T113" fmla="*/ 1089 h 1262"/>
                        <a:gd name="T114" fmla="*/ 74 w 2084"/>
                        <a:gd name="T115" fmla="*/ 1068 h 1262"/>
                        <a:gd name="T116" fmla="*/ 233 w 2084"/>
                        <a:gd name="T117" fmla="*/ 39 h 1262"/>
                        <a:gd name="T118" fmla="*/ 269 w 2084"/>
                        <a:gd name="T119" fmla="*/ 4 h 1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</a:cxnLst>
                      <a:rect l="0" t="0" r="r" b="b"/>
                      <a:pathLst>
                        <a:path w="2084" h="1262">
                          <a:moveTo>
                            <a:pt x="727" y="1146"/>
                          </a:moveTo>
                          <a:lnTo>
                            <a:pt x="726" y="1148"/>
                          </a:lnTo>
                          <a:lnTo>
                            <a:pt x="726" y="1150"/>
                          </a:lnTo>
                          <a:lnTo>
                            <a:pt x="726" y="1153"/>
                          </a:lnTo>
                          <a:lnTo>
                            <a:pt x="726" y="1155"/>
                          </a:lnTo>
                          <a:lnTo>
                            <a:pt x="726" y="1156"/>
                          </a:lnTo>
                          <a:lnTo>
                            <a:pt x="726" y="1157"/>
                          </a:lnTo>
                          <a:lnTo>
                            <a:pt x="728" y="1169"/>
                          </a:lnTo>
                          <a:lnTo>
                            <a:pt x="734" y="1177"/>
                          </a:lnTo>
                          <a:lnTo>
                            <a:pt x="742" y="1183"/>
                          </a:lnTo>
                          <a:lnTo>
                            <a:pt x="754" y="1185"/>
                          </a:lnTo>
                          <a:lnTo>
                            <a:pt x="1330" y="1185"/>
                          </a:lnTo>
                          <a:lnTo>
                            <a:pt x="1342" y="1183"/>
                          </a:lnTo>
                          <a:lnTo>
                            <a:pt x="1350" y="1177"/>
                          </a:lnTo>
                          <a:lnTo>
                            <a:pt x="1356" y="1169"/>
                          </a:lnTo>
                          <a:lnTo>
                            <a:pt x="1358" y="1157"/>
                          </a:lnTo>
                          <a:lnTo>
                            <a:pt x="1358" y="1156"/>
                          </a:lnTo>
                          <a:lnTo>
                            <a:pt x="1358" y="1155"/>
                          </a:lnTo>
                          <a:lnTo>
                            <a:pt x="1358" y="1153"/>
                          </a:lnTo>
                          <a:lnTo>
                            <a:pt x="1358" y="1150"/>
                          </a:lnTo>
                          <a:lnTo>
                            <a:pt x="1358" y="1148"/>
                          </a:lnTo>
                          <a:lnTo>
                            <a:pt x="1357" y="1146"/>
                          </a:lnTo>
                          <a:lnTo>
                            <a:pt x="727" y="1146"/>
                          </a:lnTo>
                          <a:close/>
                          <a:moveTo>
                            <a:pt x="1899" y="1137"/>
                          </a:moveTo>
                          <a:lnTo>
                            <a:pt x="1890" y="1139"/>
                          </a:lnTo>
                          <a:lnTo>
                            <a:pt x="1883" y="1144"/>
                          </a:lnTo>
                          <a:lnTo>
                            <a:pt x="1878" y="1151"/>
                          </a:lnTo>
                          <a:lnTo>
                            <a:pt x="1876" y="1161"/>
                          </a:lnTo>
                          <a:lnTo>
                            <a:pt x="1878" y="1170"/>
                          </a:lnTo>
                          <a:lnTo>
                            <a:pt x="1883" y="1177"/>
                          </a:lnTo>
                          <a:lnTo>
                            <a:pt x="1890" y="1182"/>
                          </a:lnTo>
                          <a:lnTo>
                            <a:pt x="1899" y="1184"/>
                          </a:lnTo>
                          <a:lnTo>
                            <a:pt x="1908" y="1182"/>
                          </a:lnTo>
                          <a:lnTo>
                            <a:pt x="1916" y="1177"/>
                          </a:lnTo>
                          <a:lnTo>
                            <a:pt x="1921" y="1170"/>
                          </a:lnTo>
                          <a:lnTo>
                            <a:pt x="1923" y="1161"/>
                          </a:lnTo>
                          <a:lnTo>
                            <a:pt x="1921" y="1151"/>
                          </a:lnTo>
                          <a:lnTo>
                            <a:pt x="1916" y="1144"/>
                          </a:lnTo>
                          <a:lnTo>
                            <a:pt x="1908" y="1139"/>
                          </a:lnTo>
                          <a:lnTo>
                            <a:pt x="1899" y="1137"/>
                          </a:lnTo>
                          <a:close/>
                          <a:moveTo>
                            <a:pt x="1791" y="1137"/>
                          </a:moveTo>
                          <a:lnTo>
                            <a:pt x="1783" y="1139"/>
                          </a:lnTo>
                          <a:lnTo>
                            <a:pt x="1775" y="1144"/>
                          </a:lnTo>
                          <a:lnTo>
                            <a:pt x="1769" y="1151"/>
                          </a:lnTo>
                          <a:lnTo>
                            <a:pt x="1768" y="1161"/>
                          </a:lnTo>
                          <a:lnTo>
                            <a:pt x="1769" y="1170"/>
                          </a:lnTo>
                          <a:lnTo>
                            <a:pt x="1775" y="1177"/>
                          </a:lnTo>
                          <a:lnTo>
                            <a:pt x="1783" y="1182"/>
                          </a:lnTo>
                          <a:lnTo>
                            <a:pt x="1791" y="1184"/>
                          </a:lnTo>
                          <a:lnTo>
                            <a:pt x="1800" y="1182"/>
                          </a:lnTo>
                          <a:lnTo>
                            <a:pt x="1808" y="1177"/>
                          </a:lnTo>
                          <a:lnTo>
                            <a:pt x="1813" y="1170"/>
                          </a:lnTo>
                          <a:lnTo>
                            <a:pt x="1815" y="1161"/>
                          </a:lnTo>
                          <a:lnTo>
                            <a:pt x="1813" y="1151"/>
                          </a:lnTo>
                          <a:lnTo>
                            <a:pt x="1808" y="1144"/>
                          </a:lnTo>
                          <a:lnTo>
                            <a:pt x="1800" y="1139"/>
                          </a:lnTo>
                          <a:lnTo>
                            <a:pt x="1791" y="1137"/>
                          </a:lnTo>
                          <a:close/>
                          <a:moveTo>
                            <a:pt x="1684" y="1137"/>
                          </a:moveTo>
                          <a:lnTo>
                            <a:pt x="1675" y="1139"/>
                          </a:lnTo>
                          <a:lnTo>
                            <a:pt x="1667" y="1144"/>
                          </a:lnTo>
                          <a:lnTo>
                            <a:pt x="1662" y="1151"/>
                          </a:lnTo>
                          <a:lnTo>
                            <a:pt x="1660" y="1161"/>
                          </a:lnTo>
                          <a:lnTo>
                            <a:pt x="1662" y="1170"/>
                          </a:lnTo>
                          <a:lnTo>
                            <a:pt x="1667" y="1177"/>
                          </a:lnTo>
                          <a:lnTo>
                            <a:pt x="1675" y="1182"/>
                          </a:lnTo>
                          <a:lnTo>
                            <a:pt x="1684" y="1184"/>
                          </a:lnTo>
                          <a:lnTo>
                            <a:pt x="1692" y="1182"/>
                          </a:lnTo>
                          <a:lnTo>
                            <a:pt x="1700" y="1177"/>
                          </a:lnTo>
                          <a:lnTo>
                            <a:pt x="1706" y="1170"/>
                          </a:lnTo>
                          <a:lnTo>
                            <a:pt x="1707" y="1161"/>
                          </a:lnTo>
                          <a:lnTo>
                            <a:pt x="1706" y="1151"/>
                          </a:lnTo>
                          <a:lnTo>
                            <a:pt x="1700" y="1144"/>
                          </a:lnTo>
                          <a:lnTo>
                            <a:pt x="1692" y="1139"/>
                          </a:lnTo>
                          <a:lnTo>
                            <a:pt x="1684" y="1137"/>
                          </a:lnTo>
                          <a:close/>
                          <a:moveTo>
                            <a:pt x="946" y="412"/>
                          </a:moveTo>
                          <a:lnTo>
                            <a:pt x="946" y="798"/>
                          </a:lnTo>
                          <a:lnTo>
                            <a:pt x="1236" y="605"/>
                          </a:lnTo>
                          <a:lnTo>
                            <a:pt x="946" y="412"/>
                          </a:lnTo>
                          <a:close/>
                          <a:moveTo>
                            <a:pt x="1041" y="268"/>
                          </a:moveTo>
                          <a:lnTo>
                            <a:pt x="1086" y="270"/>
                          </a:lnTo>
                          <a:lnTo>
                            <a:pt x="1129" y="280"/>
                          </a:lnTo>
                          <a:lnTo>
                            <a:pt x="1169" y="293"/>
                          </a:lnTo>
                          <a:lnTo>
                            <a:pt x="1207" y="313"/>
                          </a:lnTo>
                          <a:lnTo>
                            <a:pt x="1241" y="336"/>
                          </a:lnTo>
                          <a:lnTo>
                            <a:pt x="1273" y="363"/>
                          </a:lnTo>
                          <a:lnTo>
                            <a:pt x="1300" y="395"/>
                          </a:lnTo>
                          <a:lnTo>
                            <a:pt x="1323" y="429"/>
                          </a:lnTo>
                          <a:lnTo>
                            <a:pt x="1342" y="467"/>
                          </a:lnTo>
                          <a:lnTo>
                            <a:pt x="1356" y="507"/>
                          </a:lnTo>
                          <a:lnTo>
                            <a:pt x="1364" y="550"/>
                          </a:lnTo>
                          <a:lnTo>
                            <a:pt x="1368" y="594"/>
                          </a:lnTo>
                          <a:lnTo>
                            <a:pt x="1364" y="638"/>
                          </a:lnTo>
                          <a:lnTo>
                            <a:pt x="1356" y="680"/>
                          </a:lnTo>
                          <a:lnTo>
                            <a:pt x="1342" y="721"/>
                          </a:lnTo>
                          <a:lnTo>
                            <a:pt x="1323" y="759"/>
                          </a:lnTo>
                          <a:lnTo>
                            <a:pt x="1300" y="793"/>
                          </a:lnTo>
                          <a:lnTo>
                            <a:pt x="1273" y="825"/>
                          </a:lnTo>
                          <a:lnTo>
                            <a:pt x="1241" y="851"/>
                          </a:lnTo>
                          <a:lnTo>
                            <a:pt x="1207" y="875"/>
                          </a:lnTo>
                          <a:lnTo>
                            <a:pt x="1169" y="894"/>
                          </a:lnTo>
                          <a:lnTo>
                            <a:pt x="1129" y="908"/>
                          </a:lnTo>
                          <a:lnTo>
                            <a:pt x="1086" y="916"/>
                          </a:lnTo>
                          <a:lnTo>
                            <a:pt x="1041" y="919"/>
                          </a:lnTo>
                          <a:lnTo>
                            <a:pt x="998" y="916"/>
                          </a:lnTo>
                          <a:lnTo>
                            <a:pt x="955" y="908"/>
                          </a:lnTo>
                          <a:lnTo>
                            <a:pt x="915" y="894"/>
                          </a:lnTo>
                          <a:lnTo>
                            <a:pt x="877" y="875"/>
                          </a:lnTo>
                          <a:lnTo>
                            <a:pt x="843" y="851"/>
                          </a:lnTo>
                          <a:lnTo>
                            <a:pt x="811" y="825"/>
                          </a:lnTo>
                          <a:lnTo>
                            <a:pt x="784" y="793"/>
                          </a:lnTo>
                          <a:lnTo>
                            <a:pt x="761" y="759"/>
                          </a:lnTo>
                          <a:lnTo>
                            <a:pt x="741" y="721"/>
                          </a:lnTo>
                          <a:lnTo>
                            <a:pt x="728" y="680"/>
                          </a:lnTo>
                          <a:lnTo>
                            <a:pt x="720" y="638"/>
                          </a:lnTo>
                          <a:lnTo>
                            <a:pt x="716" y="594"/>
                          </a:lnTo>
                          <a:lnTo>
                            <a:pt x="720" y="550"/>
                          </a:lnTo>
                          <a:lnTo>
                            <a:pt x="728" y="507"/>
                          </a:lnTo>
                          <a:lnTo>
                            <a:pt x="741" y="467"/>
                          </a:lnTo>
                          <a:lnTo>
                            <a:pt x="761" y="429"/>
                          </a:lnTo>
                          <a:lnTo>
                            <a:pt x="784" y="395"/>
                          </a:lnTo>
                          <a:lnTo>
                            <a:pt x="811" y="363"/>
                          </a:lnTo>
                          <a:lnTo>
                            <a:pt x="843" y="336"/>
                          </a:lnTo>
                          <a:lnTo>
                            <a:pt x="877" y="313"/>
                          </a:lnTo>
                          <a:lnTo>
                            <a:pt x="915" y="293"/>
                          </a:lnTo>
                          <a:lnTo>
                            <a:pt x="955" y="280"/>
                          </a:lnTo>
                          <a:lnTo>
                            <a:pt x="998" y="270"/>
                          </a:lnTo>
                          <a:lnTo>
                            <a:pt x="1041" y="268"/>
                          </a:lnTo>
                          <a:close/>
                          <a:moveTo>
                            <a:pt x="377" y="131"/>
                          </a:moveTo>
                          <a:lnTo>
                            <a:pt x="375" y="131"/>
                          </a:lnTo>
                          <a:lnTo>
                            <a:pt x="374" y="132"/>
                          </a:lnTo>
                          <a:lnTo>
                            <a:pt x="374" y="133"/>
                          </a:lnTo>
                          <a:lnTo>
                            <a:pt x="374" y="1027"/>
                          </a:lnTo>
                          <a:lnTo>
                            <a:pt x="1710" y="1027"/>
                          </a:lnTo>
                          <a:lnTo>
                            <a:pt x="1710" y="133"/>
                          </a:lnTo>
                          <a:lnTo>
                            <a:pt x="1710" y="132"/>
                          </a:lnTo>
                          <a:lnTo>
                            <a:pt x="1709" y="131"/>
                          </a:lnTo>
                          <a:lnTo>
                            <a:pt x="1707" y="131"/>
                          </a:lnTo>
                          <a:lnTo>
                            <a:pt x="377" y="131"/>
                          </a:lnTo>
                          <a:close/>
                          <a:moveTo>
                            <a:pt x="287" y="0"/>
                          </a:moveTo>
                          <a:lnTo>
                            <a:pt x="1797" y="0"/>
                          </a:lnTo>
                          <a:lnTo>
                            <a:pt x="1815" y="4"/>
                          </a:lnTo>
                          <a:lnTo>
                            <a:pt x="1830" y="12"/>
                          </a:lnTo>
                          <a:lnTo>
                            <a:pt x="1843" y="23"/>
                          </a:lnTo>
                          <a:lnTo>
                            <a:pt x="1850" y="39"/>
                          </a:lnTo>
                          <a:lnTo>
                            <a:pt x="1853" y="56"/>
                          </a:lnTo>
                          <a:lnTo>
                            <a:pt x="1853" y="1068"/>
                          </a:lnTo>
                          <a:lnTo>
                            <a:pt x="2010" y="1068"/>
                          </a:lnTo>
                          <a:lnTo>
                            <a:pt x="2030" y="1071"/>
                          </a:lnTo>
                          <a:lnTo>
                            <a:pt x="2048" y="1078"/>
                          </a:lnTo>
                          <a:lnTo>
                            <a:pt x="2062" y="1089"/>
                          </a:lnTo>
                          <a:lnTo>
                            <a:pt x="2073" y="1105"/>
                          </a:lnTo>
                          <a:lnTo>
                            <a:pt x="2081" y="1122"/>
                          </a:lnTo>
                          <a:lnTo>
                            <a:pt x="2084" y="1142"/>
                          </a:lnTo>
                          <a:lnTo>
                            <a:pt x="2084" y="1188"/>
                          </a:lnTo>
                          <a:lnTo>
                            <a:pt x="2081" y="1208"/>
                          </a:lnTo>
                          <a:lnTo>
                            <a:pt x="2073" y="1225"/>
                          </a:lnTo>
                          <a:lnTo>
                            <a:pt x="2062" y="1240"/>
                          </a:lnTo>
                          <a:lnTo>
                            <a:pt x="2048" y="1251"/>
                          </a:lnTo>
                          <a:lnTo>
                            <a:pt x="2030" y="1258"/>
                          </a:lnTo>
                          <a:lnTo>
                            <a:pt x="2010" y="1262"/>
                          </a:lnTo>
                          <a:lnTo>
                            <a:pt x="74" y="1262"/>
                          </a:lnTo>
                          <a:lnTo>
                            <a:pt x="54" y="1258"/>
                          </a:lnTo>
                          <a:lnTo>
                            <a:pt x="36" y="1251"/>
                          </a:lnTo>
                          <a:lnTo>
                            <a:pt x="22" y="1240"/>
                          </a:lnTo>
                          <a:lnTo>
                            <a:pt x="11" y="1225"/>
                          </a:lnTo>
                          <a:lnTo>
                            <a:pt x="3" y="1208"/>
                          </a:lnTo>
                          <a:lnTo>
                            <a:pt x="0" y="1188"/>
                          </a:lnTo>
                          <a:lnTo>
                            <a:pt x="0" y="1142"/>
                          </a:lnTo>
                          <a:lnTo>
                            <a:pt x="3" y="1122"/>
                          </a:lnTo>
                          <a:lnTo>
                            <a:pt x="11" y="1105"/>
                          </a:lnTo>
                          <a:lnTo>
                            <a:pt x="22" y="1089"/>
                          </a:lnTo>
                          <a:lnTo>
                            <a:pt x="36" y="1078"/>
                          </a:lnTo>
                          <a:lnTo>
                            <a:pt x="54" y="1071"/>
                          </a:lnTo>
                          <a:lnTo>
                            <a:pt x="74" y="1068"/>
                          </a:lnTo>
                          <a:lnTo>
                            <a:pt x="231" y="1068"/>
                          </a:lnTo>
                          <a:lnTo>
                            <a:pt x="231" y="56"/>
                          </a:lnTo>
                          <a:lnTo>
                            <a:pt x="233" y="39"/>
                          </a:lnTo>
                          <a:lnTo>
                            <a:pt x="241" y="23"/>
                          </a:lnTo>
                          <a:lnTo>
                            <a:pt x="254" y="12"/>
                          </a:lnTo>
                          <a:lnTo>
                            <a:pt x="269" y="4"/>
                          </a:lnTo>
                          <a:lnTo>
                            <a:pt x="28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</p:grpSp>
              <p:sp>
                <p:nvSpPr>
                  <p:cNvPr id="40" name="Textfeld 99"/>
                  <p:cNvSpPr txBox="1"/>
                  <p:nvPr/>
                </p:nvSpPr>
                <p:spPr>
                  <a:xfrm>
                    <a:off x="5615370" y="1440400"/>
                    <a:ext cx="843160" cy="154015"/>
                  </a:xfrm>
                  <a:prstGeom prst="rect">
                    <a:avLst/>
                  </a:prstGeom>
                  <a:noFill/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de-DE" sz="1000" dirty="0">
                        <a:latin typeface="+mn-lt"/>
                        <a:cs typeface="+mn-cs"/>
                      </a:rPr>
                      <a:t>Online</a:t>
                    </a:r>
                  </a:p>
                </p:txBody>
              </p:sp>
            </p:grpSp>
            <p:grpSp>
              <p:nvGrpSpPr>
                <p:cNvPr id="23" name="Gruppierung 82"/>
                <p:cNvGrpSpPr>
                  <a:grpSpLocks/>
                </p:cNvGrpSpPr>
                <p:nvPr/>
              </p:nvGrpSpPr>
              <p:grpSpPr bwMode="auto">
                <a:xfrm>
                  <a:off x="5383683" y="1563767"/>
                  <a:ext cx="843465" cy="578678"/>
                  <a:chOff x="5629686" y="1581060"/>
                  <a:chExt cx="843465" cy="578678"/>
                </a:xfrm>
              </p:grpSpPr>
              <p:grpSp>
                <p:nvGrpSpPr>
                  <p:cNvPr id="33" name="Group 98"/>
                  <p:cNvGrpSpPr>
                    <a:grpSpLocks/>
                  </p:cNvGrpSpPr>
                  <p:nvPr/>
                </p:nvGrpSpPr>
                <p:grpSpPr bwMode="auto">
                  <a:xfrm>
                    <a:off x="5811738" y="1581060"/>
                    <a:ext cx="412846" cy="414411"/>
                    <a:chOff x="6828100" y="3152313"/>
                    <a:chExt cx="537515" cy="539552"/>
                  </a:xfrm>
                </p:grpSpPr>
                <p:sp>
                  <p:nvSpPr>
                    <p:cNvPr id="35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6828100" y="3152313"/>
                      <a:ext cx="537515" cy="539552"/>
                    </a:xfrm>
                    <a:custGeom>
                      <a:avLst/>
                      <a:gdLst>
                        <a:gd name="T0" fmla="*/ 1806 w 3405"/>
                        <a:gd name="T1" fmla="*/ 3 h 3400"/>
                        <a:gd name="T2" fmla="*/ 2009 w 3405"/>
                        <a:gd name="T3" fmla="*/ 28 h 3400"/>
                        <a:gd name="T4" fmla="*/ 2203 w 3405"/>
                        <a:gd name="T5" fmla="*/ 74 h 3400"/>
                        <a:gd name="T6" fmla="*/ 2388 w 3405"/>
                        <a:gd name="T7" fmla="*/ 143 h 3400"/>
                        <a:gd name="T8" fmla="*/ 2562 w 3405"/>
                        <a:gd name="T9" fmla="*/ 232 h 3400"/>
                        <a:gd name="T10" fmla="*/ 2724 w 3405"/>
                        <a:gd name="T11" fmla="*/ 340 h 3400"/>
                        <a:gd name="T12" fmla="*/ 2872 w 3405"/>
                        <a:gd name="T13" fmla="*/ 465 h 3400"/>
                        <a:gd name="T14" fmla="*/ 3005 w 3405"/>
                        <a:gd name="T15" fmla="*/ 605 h 3400"/>
                        <a:gd name="T16" fmla="*/ 3121 w 3405"/>
                        <a:gd name="T17" fmla="*/ 759 h 3400"/>
                        <a:gd name="T18" fmla="*/ 3219 w 3405"/>
                        <a:gd name="T19" fmla="*/ 927 h 3400"/>
                        <a:gd name="T20" fmla="*/ 3299 w 3405"/>
                        <a:gd name="T21" fmla="*/ 1107 h 3400"/>
                        <a:gd name="T22" fmla="*/ 3357 w 3405"/>
                        <a:gd name="T23" fmla="*/ 1296 h 3400"/>
                        <a:gd name="T24" fmla="*/ 3393 w 3405"/>
                        <a:gd name="T25" fmla="*/ 1495 h 3400"/>
                        <a:gd name="T26" fmla="*/ 3405 w 3405"/>
                        <a:gd name="T27" fmla="*/ 1700 h 3400"/>
                        <a:gd name="T28" fmla="*/ 3393 w 3405"/>
                        <a:gd name="T29" fmla="*/ 1905 h 3400"/>
                        <a:gd name="T30" fmla="*/ 3357 w 3405"/>
                        <a:gd name="T31" fmla="*/ 2104 h 3400"/>
                        <a:gd name="T32" fmla="*/ 3299 w 3405"/>
                        <a:gd name="T33" fmla="*/ 2293 h 3400"/>
                        <a:gd name="T34" fmla="*/ 3219 w 3405"/>
                        <a:gd name="T35" fmla="*/ 2473 h 3400"/>
                        <a:gd name="T36" fmla="*/ 3121 w 3405"/>
                        <a:gd name="T37" fmla="*/ 2641 h 3400"/>
                        <a:gd name="T38" fmla="*/ 3005 w 3405"/>
                        <a:gd name="T39" fmla="*/ 2795 h 3400"/>
                        <a:gd name="T40" fmla="*/ 2872 w 3405"/>
                        <a:gd name="T41" fmla="*/ 2935 h 3400"/>
                        <a:gd name="T42" fmla="*/ 2724 w 3405"/>
                        <a:gd name="T43" fmla="*/ 3060 h 3400"/>
                        <a:gd name="T44" fmla="*/ 2562 w 3405"/>
                        <a:gd name="T45" fmla="*/ 3168 h 3400"/>
                        <a:gd name="T46" fmla="*/ 2388 w 3405"/>
                        <a:gd name="T47" fmla="*/ 3257 h 3400"/>
                        <a:gd name="T48" fmla="*/ 2203 w 3405"/>
                        <a:gd name="T49" fmla="*/ 3326 h 3400"/>
                        <a:gd name="T50" fmla="*/ 2009 w 3405"/>
                        <a:gd name="T51" fmla="*/ 3372 h 3400"/>
                        <a:gd name="T52" fmla="*/ 1806 w 3405"/>
                        <a:gd name="T53" fmla="*/ 3397 h 3400"/>
                        <a:gd name="T54" fmla="*/ 1598 w 3405"/>
                        <a:gd name="T55" fmla="*/ 3397 h 3400"/>
                        <a:gd name="T56" fmla="*/ 1396 w 3405"/>
                        <a:gd name="T57" fmla="*/ 3372 h 3400"/>
                        <a:gd name="T58" fmla="*/ 1202 w 3405"/>
                        <a:gd name="T59" fmla="*/ 3326 h 3400"/>
                        <a:gd name="T60" fmla="*/ 1017 w 3405"/>
                        <a:gd name="T61" fmla="*/ 3257 h 3400"/>
                        <a:gd name="T62" fmla="*/ 843 w 3405"/>
                        <a:gd name="T63" fmla="*/ 3168 h 3400"/>
                        <a:gd name="T64" fmla="*/ 681 w 3405"/>
                        <a:gd name="T65" fmla="*/ 3060 h 3400"/>
                        <a:gd name="T66" fmla="*/ 533 w 3405"/>
                        <a:gd name="T67" fmla="*/ 2935 h 3400"/>
                        <a:gd name="T68" fmla="*/ 400 w 3405"/>
                        <a:gd name="T69" fmla="*/ 2795 h 3400"/>
                        <a:gd name="T70" fmla="*/ 284 w 3405"/>
                        <a:gd name="T71" fmla="*/ 2641 h 3400"/>
                        <a:gd name="T72" fmla="*/ 186 w 3405"/>
                        <a:gd name="T73" fmla="*/ 2473 h 3400"/>
                        <a:gd name="T74" fmla="*/ 106 w 3405"/>
                        <a:gd name="T75" fmla="*/ 2293 h 3400"/>
                        <a:gd name="T76" fmla="*/ 48 w 3405"/>
                        <a:gd name="T77" fmla="*/ 2104 h 3400"/>
                        <a:gd name="T78" fmla="*/ 12 w 3405"/>
                        <a:gd name="T79" fmla="*/ 1905 h 3400"/>
                        <a:gd name="T80" fmla="*/ 0 w 3405"/>
                        <a:gd name="T81" fmla="*/ 1700 h 3400"/>
                        <a:gd name="T82" fmla="*/ 12 w 3405"/>
                        <a:gd name="T83" fmla="*/ 1495 h 3400"/>
                        <a:gd name="T84" fmla="*/ 48 w 3405"/>
                        <a:gd name="T85" fmla="*/ 1296 h 3400"/>
                        <a:gd name="T86" fmla="*/ 106 w 3405"/>
                        <a:gd name="T87" fmla="*/ 1107 h 3400"/>
                        <a:gd name="T88" fmla="*/ 186 w 3405"/>
                        <a:gd name="T89" fmla="*/ 927 h 3400"/>
                        <a:gd name="T90" fmla="*/ 284 w 3405"/>
                        <a:gd name="T91" fmla="*/ 759 h 3400"/>
                        <a:gd name="T92" fmla="*/ 400 w 3405"/>
                        <a:gd name="T93" fmla="*/ 605 h 3400"/>
                        <a:gd name="T94" fmla="*/ 533 w 3405"/>
                        <a:gd name="T95" fmla="*/ 465 h 3400"/>
                        <a:gd name="T96" fmla="*/ 681 w 3405"/>
                        <a:gd name="T97" fmla="*/ 340 h 3400"/>
                        <a:gd name="T98" fmla="*/ 843 w 3405"/>
                        <a:gd name="T99" fmla="*/ 232 h 3400"/>
                        <a:gd name="T100" fmla="*/ 1017 w 3405"/>
                        <a:gd name="T101" fmla="*/ 143 h 3400"/>
                        <a:gd name="T102" fmla="*/ 1202 w 3405"/>
                        <a:gd name="T103" fmla="*/ 74 h 3400"/>
                        <a:gd name="T104" fmla="*/ 1396 w 3405"/>
                        <a:gd name="T105" fmla="*/ 28 h 3400"/>
                        <a:gd name="T106" fmla="*/ 1598 w 3405"/>
                        <a:gd name="T107" fmla="*/ 3 h 34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405" h="3400">
                          <a:moveTo>
                            <a:pt x="1701" y="0"/>
                          </a:moveTo>
                          <a:lnTo>
                            <a:pt x="1806" y="3"/>
                          </a:lnTo>
                          <a:lnTo>
                            <a:pt x="1908" y="12"/>
                          </a:lnTo>
                          <a:lnTo>
                            <a:pt x="2009" y="28"/>
                          </a:lnTo>
                          <a:lnTo>
                            <a:pt x="2107" y="48"/>
                          </a:lnTo>
                          <a:lnTo>
                            <a:pt x="2203" y="74"/>
                          </a:lnTo>
                          <a:lnTo>
                            <a:pt x="2297" y="106"/>
                          </a:lnTo>
                          <a:lnTo>
                            <a:pt x="2388" y="143"/>
                          </a:lnTo>
                          <a:lnTo>
                            <a:pt x="2476" y="185"/>
                          </a:lnTo>
                          <a:lnTo>
                            <a:pt x="2562" y="232"/>
                          </a:lnTo>
                          <a:lnTo>
                            <a:pt x="2645" y="283"/>
                          </a:lnTo>
                          <a:lnTo>
                            <a:pt x="2724" y="340"/>
                          </a:lnTo>
                          <a:lnTo>
                            <a:pt x="2799" y="400"/>
                          </a:lnTo>
                          <a:lnTo>
                            <a:pt x="2872" y="465"/>
                          </a:lnTo>
                          <a:lnTo>
                            <a:pt x="2940" y="533"/>
                          </a:lnTo>
                          <a:lnTo>
                            <a:pt x="3005" y="605"/>
                          </a:lnTo>
                          <a:lnTo>
                            <a:pt x="3065" y="680"/>
                          </a:lnTo>
                          <a:lnTo>
                            <a:pt x="3121" y="759"/>
                          </a:lnTo>
                          <a:lnTo>
                            <a:pt x="3173" y="842"/>
                          </a:lnTo>
                          <a:lnTo>
                            <a:pt x="3219" y="927"/>
                          </a:lnTo>
                          <a:lnTo>
                            <a:pt x="3262" y="1016"/>
                          </a:lnTo>
                          <a:lnTo>
                            <a:pt x="3299" y="1107"/>
                          </a:lnTo>
                          <a:lnTo>
                            <a:pt x="3331" y="1200"/>
                          </a:lnTo>
                          <a:lnTo>
                            <a:pt x="3357" y="1296"/>
                          </a:lnTo>
                          <a:lnTo>
                            <a:pt x="3377" y="1394"/>
                          </a:lnTo>
                          <a:lnTo>
                            <a:pt x="3393" y="1495"/>
                          </a:lnTo>
                          <a:lnTo>
                            <a:pt x="3402" y="1596"/>
                          </a:lnTo>
                          <a:lnTo>
                            <a:pt x="3405" y="1700"/>
                          </a:lnTo>
                          <a:lnTo>
                            <a:pt x="3402" y="1804"/>
                          </a:lnTo>
                          <a:lnTo>
                            <a:pt x="3393" y="1905"/>
                          </a:lnTo>
                          <a:lnTo>
                            <a:pt x="3377" y="2006"/>
                          </a:lnTo>
                          <a:lnTo>
                            <a:pt x="3357" y="2104"/>
                          </a:lnTo>
                          <a:lnTo>
                            <a:pt x="3331" y="2200"/>
                          </a:lnTo>
                          <a:lnTo>
                            <a:pt x="3299" y="2293"/>
                          </a:lnTo>
                          <a:lnTo>
                            <a:pt x="3262" y="2384"/>
                          </a:lnTo>
                          <a:lnTo>
                            <a:pt x="3219" y="2473"/>
                          </a:lnTo>
                          <a:lnTo>
                            <a:pt x="3173" y="2558"/>
                          </a:lnTo>
                          <a:lnTo>
                            <a:pt x="3121" y="2641"/>
                          </a:lnTo>
                          <a:lnTo>
                            <a:pt x="3065" y="2720"/>
                          </a:lnTo>
                          <a:lnTo>
                            <a:pt x="3005" y="2795"/>
                          </a:lnTo>
                          <a:lnTo>
                            <a:pt x="2940" y="2867"/>
                          </a:lnTo>
                          <a:lnTo>
                            <a:pt x="2872" y="2935"/>
                          </a:lnTo>
                          <a:lnTo>
                            <a:pt x="2799" y="3000"/>
                          </a:lnTo>
                          <a:lnTo>
                            <a:pt x="2724" y="3060"/>
                          </a:lnTo>
                          <a:lnTo>
                            <a:pt x="2645" y="3117"/>
                          </a:lnTo>
                          <a:lnTo>
                            <a:pt x="2562" y="3168"/>
                          </a:lnTo>
                          <a:lnTo>
                            <a:pt x="2476" y="3215"/>
                          </a:lnTo>
                          <a:lnTo>
                            <a:pt x="2388" y="3257"/>
                          </a:lnTo>
                          <a:lnTo>
                            <a:pt x="2297" y="3294"/>
                          </a:lnTo>
                          <a:lnTo>
                            <a:pt x="2203" y="3326"/>
                          </a:lnTo>
                          <a:lnTo>
                            <a:pt x="2107" y="3352"/>
                          </a:lnTo>
                          <a:lnTo>
                            <a:pt x="2009" y="3372"/>
                          </a:lnTo>
                          <a:lnTo>
                            <a:pt x="1908" y="3388"/>
                          </a:lnTo>
                          <a:lnTo>
                            <a:pt x="1806" y="3397"/>
                          </a:lnTo>
                          <a:lnTo>
                            <a:pt x="1701" y="3400"/>
                          </a:lnTo>
                          <a:lnTo>
                            <a:pt x="1598" y="3397"/>
                          </a:lnTo>
                          <a:lnTo>
                            <a:pt x="1497" y="3388"/>
                          </a:lnTo>
                          <a:lnTo>
                            <a:pt x="1396" y="3372"/>
                          </a:lnTo>
                          <a:lnTo>
                            <a:pt x="1298" y="3352"/>
                          </a:lnTo>
                          <a:lnTo>
                            <a:pt x="1202" y="3326"/>
                          </a:lnTo>
                          <a:lnTo>
                            <a:pt x="1108" y="3294"/>
                          </a:lnTo>
                          <a:lnTo>
                            <a:pt x="1017" y="3257"/>
                          </a:lnTo>
                          <a:lnTo>
                            <a:pt x="929" y="3215"/>
                          </a:lnTo>
                          <a:lnTo>
                            <a:pt x="843" y="3168"/>
                          </a:lnTo>
                          <a:lnTo>
                            <a:pt x="760" y="3117"/>
                          </a:lnTo>
                          <a:lnTo>
                            <a:pt x="681" y="3060"/>
                          </a:lnTo>
                          <a:lnTo>
                            <a:pt x="606" y="3000"/>
                          </a:lnTo>
                          <a:lnTo>
                            <a:pt x="533" y="2935"/>
                          </a:lnTo>
                          <a:lnTo>
                            <a:pt x="465" y="2867"/>
                          </a:lnTo>
                          <a:lnTo>
                            <a:pt x="400" y="2795"/>
                          </a:lnTo>
                          <a:lnTo>
                            <a:pt x="341" y="2720"/>
                          </a:lnTo>
                          <a:lnTo>
                            <a:pt x="284" y="2641"/>
                          </a:lnTo>
                          <a:lnTo>
                            <a:pt x="232" y="2558"/>
                          </a:lnTo>
                          <a:lnTo>
                            <a:pt x="186" y="2473"/>
                          </a:lnTo>
                          <a:lnTo>
                            <a:pt x="143" y="2384"/>
                          </a:lnTo>
                          <a:lnTo>
                            <a:pt x="106" y="2293"/>
                          </a:lnTo>
                          <a:lnTo>
                            <a:pt x="74" y="2200"/>
                          </a:lnTo>
                          <a:lnTo>
                            <a:pt x="48" y="2104"/>
                          </a:lnTo>
                          <a:lnTo>
                            <a:pt x="28" y="2006"/>
                          </a:lnTo>
                          <a:lnTo>
                            <a:pt x="12" y="1905"/>
                          </a:lnTo>
                          <a:lnTo>
                            <a:pt x="3" y="1804"/>
                          </a:lnTo>
                          <a:lnTo>
                            <a:pt x="0" y="1700"/>
                          </a:lnTo>
                          <a:lnTo>
                            <a:pt x="3" y="1596"/>
                          </a:lnTo>
                          <a:lnTo>
                            <a:pt x="12" y="1495"/>
                          </a:lnTo>
                          <a:lnTo>
                            <a:pt x="28" y="1394"/>
                          </a:lnTo>
                          <a:lnTo>
                            <a:pt x="48" y="1296"/>
                          </a:lnTo>
                          <a:lnTo>
                            <a:pt x="74" y="1200"/>
                          </a:lnTo>
                          <a:lnTo>
                            <a:pt x="106" y="1107"/>
                          </a:lnTo>
                          <a:lnTo>
                            <a:pt x="143" y="1016"/>
                          </a:lnTo>
                          <a:lnTo>
                            <a:pt x="186" y="927"/>
                          </a:lnTo>
                          <a:lnTo>
                            <a:pt x="232" y="842"/>
                          </a:lnTo>
                          <a:lnTo>
                            <a:pt x="284" y="759"/>
                          </a:lnTo>
                          <a:lnTo>
                            <a:pt x="341" y="680"/>
                          </a:lnTo>
                          <a:lnTo>
                            <a:pt x="400" y="605"/>
                          </a:lnTo>
                          <a:lnTo>
                            <a:pt x="465" y="533"/>
                          </a:lnTo>
                          <a:lnTo>
                            <a:pt x="533" y="465"/>
                          </a:lnTo>
                          <a:lnTo>
                            <a:pt x="606" y="400"/>
                          </a:lnTo>
                          <a:lnTo>
                            <a:pt x="681" y="340"/>
                          </a:lnTo>
                          <a:lnTo>
                            <a:pt x="760" y="283"/>
                          </a:lnTo>
                          <a:lnTo>
                            <a:pt x="843" y="232"/>
                          </a:lnTo>
                          <a:lnTo>
                            <a:pt x="929" y="185"/>
                          </a:lnTo>
                          <a:lnTo>
                            <a:pt x="1017" y="143"/>
                          </a:lnTo>
                          <a:lnTo>
                            <a:pt x="1108" y="106"/>
                          </a:lnTo>
                          <a:lnTo>
                            <a:pt x="1202" y="74"/>
                          </a:lnTo>
                          <a:lnTo>
                            <a:pt x="1298" y="48"/>
                          </a:lnTo>
                          <a:lnTo>
                            <a:pt x="1396" y="28"/>
                          </a:lnTo>
                          <a:lnTo>
                            <a:pt x="1497" y="12"/>
                          </a:lnTo>
                          <a:lnTo>
                            <a:pt x="1598" y="3"/>
                          </a:lnTo>
                          <a:lnTo>
                            <a:pt x="1701" y="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50000"/>
                      </a:schemeClr>
                    </a:solidFill>
                    <a:ln w="0">
                      <a:solidFill>
                        <a:schemeClr val="tx2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36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6937669" y="3251541"/>
                      <a:ext cx="316308" cy="150909"/>
                    </a:xfrm>
                    <a:custGeom>
                      <a:avLst/>
                      <a:gdLst>
                        <a:gd name="T0" fmla="*/ 1000 w 1999"/>
                        <a:gd name="T1" fmla="*/ 0 h 952"/>
                        <a:gd name="T2" fmla="*/ 1978 w 1999"/>
                        <a:gd name="T3" fmla="*/ 799 h 952"/>
                        <a:gd name="T4" fmla="*/ 1989 w 1999"/>
                        <a:gd name="T5" fmla="*/ 811 h 952"/>
                        <a:gd name="T6" fmla="*/ 1996 w 1999"/>
                        <a:gd name="T7" fmla="*/ 824 h 952"/>
                        <a:gd name="T8" fmla="*/ 1999 w 1999"/>
                        <a:gd name="T9" fmla="*/ 840 h 952"/>
                        <a:gd name="T10" fmla="*/ 1998 w 1999"/>
                        <a:gd name="T11" fmla="*/ 856 h 952"/>
                        <a:gd name="T12" fmla="*/ 1993 w 1999"/>
                        <a:gd name="T13" fmla="*/ 871 h 952"/>
                        <a:gd name="T14" fmla="*/ 1984 w 1999"/>
                        <a:gd name="T15" fmla="*/ 885 h 952"/>
                        <a:gd name="T16" fmla="*/ 1941 w 1999"/>
                        <a:gd name="T17" fmla="*/ 931 h 952"/>
                        <a:gd name="T18" fmla="*/ 1927 w 1999"/>
                        <a:gd name="T19" fmla="*/ 942 h 952"/>
                        <a:gd name="T20" fmla="*/ 1912 w 1999"/>
                        <a:gd name="T21" fmla="*/ 949 h 952"/>
                        <a:gd name="T22" fmla="*/ 1895 w 1999"/>
                        <a:gd name="T23" fmla="*/ 952 h 952"/>
                        <a:gd name="T24" fmla="*/ 1879 w 1999"/>
                        <a:gd name="T25" fmla="*/ 951 h 952"/>
                        <a:gd name="T26" fmla="*/ 1863 w 1999"/>
                        <a:gd name="T27" fmla="*/ 946 h 952"/>
                        <a:gd name="T28" fmla="*/ 1848 w 1999"/>
                        <a:gd name="T29" fmla="*/ 937 h 952"/>
                        <a:gd name="T30" fmla="*/ 1000 w 1999"/>
                        <a:gd name="T31" fmla="*/ 244 h 952"/>
                        <a:gd name="T32" fmla="*/ 151 w 1999"/>
                        <a:gd name="T33" fmla="*/ 937 h 952"/>
                        <a:gd name="T34" fmla="*/ 136 w 1999"/>
                        <a:gd name="T35" fmla="*/ 946 h 952"/>
                        <a:gd name="T36" fmla="*/ 120 w 1999"/>
                        <a:gd name="T37" fmla="*/ 951 h 952"/>
                        <a:gd name="T38" fmla="*/ 104 w 1999"/>
                        <a:gd name="T39" fmla="*/ 952 h 952"/>
                        <a:gd name="T40" fmla="*/ 87 w 1999"/>
                        <a:gd name="T41" fmla="*/ 949 h 952"/>
                        <a:gd name="T42" fmla="*/ 72 w 1999"/>
                        <a:gd name="T43" fmla="*/ 942 h 952"/>
                        <a:gd name="T44" fmla="*/ 58 w 1999"/>
                        <a:gd name="T45" fmla="*/ 931 h 952"/>
                        <a:gd name="T46" fmla="*/ 15 w 1999"/>
                        <a:gd name="T47" fmla="*/ 885 h 952"/>
                        <a:gd name="T48" fmla="*/ 6 w 1999"/>
                        <a:gd name="T49" fmla="*/ 871 h 952"/>
                        <a:gd name="T50" fmla="*/ 1 w 1999"/>
                        <a:gd name="T51" fmla="*/ 856 h 952"/>
                        <a:gd name="T52" fmla="*/ 0 w 1999"/>
                        <a:gd name="T53" fmla="*/ 840 h 952"/>
                        <a:gd name="T54" fmla="*/ 3 w 1999"/>
                        <a:gd name="T55" fmla="*/ 824 h 952"/>
                        <a:gd name="T56" fmla="*/ 10 w 1999"/>
                        <a:gd name="T57" fmla="*/ 811 h 952"/>
                        <a:gd name="T58" fmla="*/ 21 w 1999"/>
                        <a:gd name="T59" fmla="*/ 799 h 952"/>
                        <a:gd name="T60" fmla="*/ 1000 w 1999"/>
                        <a:gd name="T61" fmla="*/ 0 h 9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999" h="952">
                          <a:moveTo>
                            <a:pt x="1000" y="0"/>
                          </a:moveTo>
                          <a:lnTo>
                            <a:pt x="1978" y="799"/>
                          </a:lnTo>
                          <a:lnTo>
                            <a:pt x="1989" y="811"/>
                          </a:lnTo>
                          <a:lnTo>
                            <a:pt x="1996" y="824"/>
                          </a:lnTo>
                          <a:lnTo>
                            <a:pt x="1999" y="840"/>
                          </a:lnTo>
                          <a:lnTo>
                            <a:pt x="1998" y="856"/>
                          </a:lnTo>
                          <a:lnTo>
                            <a:pt x="1993" y="871"/>
                          </a:lnTo>
                          <a:lnTo>
                            <a:pt x="1984" y="885"/>
                          </a:lnTo>
                          <a:lnTo>
                            <a:pt x="1941" y="931"/>
                          </a:lnTo>
                          <a:lnTo>
                            <a:pt x="1927" y="942"/>
                          </a:lnTo>
                          <a:lnTo>
                            <a:pt x="1912" y="949"/>
                          </a:lnTo>
                          <a:lnTo>
                            <a:pt x="1895" y="952"/>
                          </a:lnTo>
                          <a:lnTo>
                            <a:pt x="1879" y="951"/>
                          </a:lnTo>
                          <a:lnTo>
                            <a:pt x="1863" y="946"/>
                          </a:lnTo>
                          <a:lnTo>
                            <a:pt x="1848" y="937"/>
                          </a:lnTo>
                          <a:lnTo>
                            <a:pt x="1000" y="244"/>
                          </a:lnTo>
                          <a:lnTo>
                            <a:pt x="151" y="937"/>
                          </a:lnTo>
                          <a:lnTo>
                            <a:pt x="136" y="946"/>
                          </a:lnTo>
                          <a:lnTo>
                            <a:pt x="120" y="951"/>
                          </a:lnTo>
                          <a:lnTo>
                            <a:pt x="104" y="952"/>
                          </a:lnTo>
                          <a:lnTo>
                            <a:pt x="87" y="949"/>
                          </a:lnTo>
                          <a:lnTo>
                            <a:pt x="72" y="942"/>
                          </a:lnTo>
                          <a:lnTo>
                            <a:pt x="58" y="931"/>
                          </a:lnTo>
                          <a:lnTo>
                            <a:pt x="15" y="885"/>
                          </a:lnTo>
                          <a:lnTo>
                            <a:pt x="6" y="871"/>
                          </a:lnTo>
                          <a:lnTo>
                            <a:pt x="1" y="856"/>
                          </a:lnTo>
                          <a:lnTo>
                            <a:pt x="0" y="840"/>
                          </a:lnTo>
                          <a:lnTo>
                            <a:pt x="3" y="824"/>
                          </a:lnTo>
                          <a:lnTo>
                            <a:pt x="10" y="811"/>
                          </a:lnTo>
                          <a:lnTo>
                            <a:pt x="21" y="799"/>
                          </a:lnTo>
                          <a:lnTo>
                            <a:pt x="100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37" name="Freeform 3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970747" y="3303221"/>
                      <a:ext cx="250152" cy="262542"/>
                    </a:xfrm>
                    <a:custGeom>
                      <a:avLst/>
                      <a:gdLst>
                        <a:gd name="T0" fmla="*/ 638 w 1575"/>
                        <a:gd name="T1" fmla="*/ 555 h 1651"/>
                        <a:gd name="T2" fmla="*/ 638 w 1575"/>
                        <a:gd name="T3" fmla="*/ 868 h 1651"/>
                        <a:gd name="T4" fmla="*/ 325 w 1575"/>
                        <a:gd name="T5" fmla="*/ 868 h 1651"/>
                        <a:gd name="T6" fmla="*/ 325 w 1575"/>
                        <a:gd name="T7" fmla="*/ 1166 h 1651"/>
                        <a:gd name="T8" fmla="*/ 638 w 1575"/>
                        <a:gd name="T9" fmla="*/ 1166 h 1651"/>
                        <a:gd name="T10" fmla="*/ 638 w 1575"/>
                        <a:gd name="T11" fmla="*/ 1479 h 1651"/>
                        <a:gd name="T12" fmla="*/ 937 w 1575"/>
                        <a:gd name="T13" fmla="*/ 1479 h 1651"/>
                        <a:gd name="T14" fmla="*/ 937 w 1575"/>
                        <a:gd name="T15" fmla="*/ 1166 h 1651"/>
                        <a:gd name="T16" fmla="*/ 1250 w 1575"/>
                        <a:gd name="T17" fmla="*/ 1166 h 1651"/>
                        <a:gd name="T18" fmla="*/ 1250 w 1575"/>
                        <a:gd name="T19" fmla="*/ 868 h 1651"/>
                        <a:gd name="T20" fmla="*/ 937 w 1575"/>
                        <a:gd name="T21" fmla="*/ 868 h 1651"/>
                        <a:gd name="T22" fmla="*/ 937 w 1575"/>
                        <a:gd name="T23" fmla="*/ 555 h 1651"/>
                        <a:gd name="T24" fmla="*/ 638 w 1575"/>
                        <a:gd name="T25" fmla="*/ 555 h 1651"/>
                        <a:gd name="T26" fmla="*/ 788 w 1575"/>
                        <a:gd name="T27" fmla="*/ 0 h 1651"/>
                        <a:gd name="T28" fmla="*/ 1575 w 1575"/>
                        <a:gd name="T29" fmla="*/ 643 h 1651"/>
                        <a:gd name="T30" fmla="*/ 1575 w 1575"/>
                        <a:gd name="T31" fmla="*/ 1569 h 1651"/>
                        <a:gd name="T32" fmla="*/ 1572 w 1575"/>
                        <a:gd name="T33" fmla="*/ 1591 h 1651"/>
                        <a:gd name="T34" fmla="*/ 1563 w 1575"/>
                        <a:gd name="T35" fmla="*/ 1611 h 1651"/>
                        <a:gd name="T36" fmla="*/ 1550 w 1575"/>
                        <a:gd name="T37" fmla="*/ 1627 h 1651"/>
                        <a:gd name="T38" fmla="*/ 1531 w 1575"/>
                        <a:gd name="T39" fmla="*/ 1639 h 1651"/>
                        <a:gd name="T40" fmla="*/ 1511 w 1575"/>
                        <a:gd name="T41" fmla="*/ 1648 h 1651"/>
                        <a:gd name="T42" fmla="*/ 1488 w 1575"/>
                        <a:gd name="T43" fmla="*/ 1651 h 1651"/>
                        <a:gd name="T44" fmla="*/ 87 w 1575"/>
                        <a:gd name="T45" fmla="*/ 1651 h 1651"/>
                        <a:gd name="T46" fmla="*/ 64 w 1575"/>
                        <a:gd name="T47" fmla="*/ 1648 h 1651"/>
                        <a:gd name="T48" fmla="*/ 44 w 1575"/>
                        <a:gd name="T49" fmla="*/ 1639 h 1651"/>
                        <a:gd name="T50" fmla="*/ 25 w 1575"/>
                        <a:gd name="T51" fmla="*/ 1627 h 1651"/>
                        <a:gd name="T52" fmla="*/ 12 w 1575"/>
                        <a:gd name="T53" fmla="*/ 1611 h 1651"/>
                        <a:gd name="T54" fmla="*/ 3 w 1575"/>
                        <a:gd name="T55" fmla="*/ 1591 h 1651"/>
                        <a:gd name="T56" fmla="*/ 0 w 1575"/>
                        <a:gd name="T57" fmla="*/ 1569 h 1651"/>
                        <a:gd name="T58" fmla="*/ 0 w 1575"/>
                        <a:gd name="T59" fmla="*/ 643 h 1651"/>
                        <a:gd name="T60" fmla="*/ 788 w 1575"/>
                        <a:gd name="T61" fmla="*/ 0 h 16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575" h="1651">
                          <a:moveTo>
                            <a:pt x="638" y="555"/>
                          </a:moveTo>
                          <a:lnTo>
                            <a:pt x="638" y="868"/>
                          </a:lnTo>
                          <a:lnTo>
                            <a:pt x="325" y="868"/>
                          </a:lnTo>
                          <a:lnTo>
                            <a:pt x="325" y="1166"/>
                          </a:lnTo>
                          <a:lnTo>
                            <a:pt x="638" y="1166"/>
                          </a:lnTo>
                          <a:lnTo>
                            <a:pt x="638" y="1479"/>
                          </a:lnTo>
                          <a:lnTo>
                            <a:pt x="937" y="1479"/>
                          </a:lnTo>
                          <a:lnTo>
                            <a:pt x="937" y="1166"/>
                          </a:lnTo>
                          <a:lnTo>
                            <a:pt x="1250" y="1166"/>
                          </a:lnTo>
                          <a:lnTo>
                            <a:pt x="1250" y="868"/>
                          </a:lnTo>
                          <a:lnTo>
                            <a:pt x="937" y="868"/>
                          </a:lnTo>
                          <a:lnTo>
                            <a:pt x="937" y="555"/>
                          </a:lnTo>
                          <a:lnTo>
                            <a:pt x="638" y="555"/>
                          </a:lnTo>
                          <a:close/>
                          <a:moveTo>
                            <a:pt x="788" y="0"/>
                          </a:moveTo>
                          <a:lnTo>
                            <a:pt x="1575" y="643"/>
                          </a:lnTo>
                          <a:lnTo>
                            <a:pt x="1575" y="1569"/>
                          </a:lnTo>
                          <a:lnTo>
                            <a:pt x="1572" y="1591"/>
                          </a:lnTo>
                          <a:lnTo>
                            <a:pt x="1563" y="1611"/>
                          </a:lnTo>
                          <a:lnTo>
                            <a:pt x="1550" y="1627"/>
                          </a:lnTo>
                          <a:lnTo>
                            <a:pt x="1531" y="1639"/>
                          </a:lnTo>
                          <a:lnTo>
                            <a:pt x="1511" y="1648"/>
                          </a:lnTo>
                          <a:lnTo>
                            <a:pt x="1488" y="1651"/>
                          </a:lnTo>
                          <a:lnTo>
                            <a:pt x="87" y="1651"/>
                          </a:lnTo>
                          <a:lnTo>
                            <a:pt x="64" y="1648"/>
                          </a:lnTo>
                          <a:lnTo>
                            <a:pt x="44" y="1639"/>
                          </a:lnTo>
                          <a:lnTo>
                            <a:pt x="25" y="1627"/>
                          </a:lnTo>
                          <a:lnTo>
                            <a:pt x="12" y="1611"/>
                          </a:lnTo>
                          <a:lnTo>
                            <a:pt x="3" y="1591"/>
                          </a:lnTo>
                          <a:lnTo>
                            <a:pt x="0" y="1569"/>
                          </a:lnTo>
                          <a:lnTo>
                            <a:pt x="0" y="643"/>
                          </a:lnTo>
                          <a:lnTo>
                            <a:pt x="788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pic>
                  <p:nvPicPr>
                    <p:cNvPr id="38" name="Picture 108"/>
                    <p:cNvPicPr>
                      <a:picLocks noChangeAspect="1"/>
                    </p:cNvPicPr>
                    <p:nvPr/>
                  </p:nvPicPr>
                  <p:blipFill>
                    <a:blip r:embed="rId6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1628" r="80135" b="42566"/>
                    <a:stretch>
                      <a:fillRect/>
                    </a:stretch>
                  </p:blipFill>
                  <p:spPr bwMode="auto">
                    <a:xfrm>
                      <a:off x="7015443" y="3347965"/>
                      <a:ext cx="154009" cy="20147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sp>
                <p:nvSpPr>
                  <p:cNvPr id="34" name="Textfeld 9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629686" y="2005850"/>
                    <a:ext cx="843465" cy="15388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eaLnBrk="1" hangingPunct="1"/>
                    <a:r>
                      <a:rPr lang="de-DE" altLang="de-DE" sz="1000" dirty="0"/>
                      <a:t>Filiale</a:t>
                    </a:r>
                  </a:p>
                </p:txBody>
              </p:sp>
            </p:grpSp>
            <p:grpSp>
              <p:nvGrpSpPr>
                <p:cNvPr id="24" name="Gruppierung 83"/>
                <p:cNvGrpSpPr>
                  <a:grpSpLocks/>
                </p:cNvGrpSpPr>
                <p:nvPr/>
              </p:nvGrpSpPr>
              <p:grpSpPr bwMode="auto">
                <a:xfrm>
                  <a:off x="4674665" y="2413229"/>
                  <a:ext cx="843464" cy="743185"/>
                  <a:chOff x="5556037" y="2157302"/>
                  <a:chExt cx="843464" cy="743185"/>
                </a:xfrm>
              </p:grpSpPr>
              <p:grpSp>
                <p:nvGrpSpPr>
                  <p:cNvPr id="26" name="Gruppieren 25"/>
                  <p:cNvGrpSpPr>
                    <a:grpSpLocks/>
                  </p:cNvGrpSpPr>
                  <p:nvPr/>
                </p:nvGrpSpPr>
                <p:grpSpPr bwMode="auto">
                  <a:xfrm>
                    <a:off x="5808787" y="2157302"/>
                    <a:ext cx="412847" cy="414412"/>
                    <a:chOff x="1959194" y="4677237"/>
                    <a:chExt cx="1075031" cy="1079107"/>
                  </a:xfrm>
                </p:grpSpPr>
                <p:sp>
                  <p:nvSpPr>
                    <p:cNvPr id="28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1959194" y="4677237"/>
                      <a:ext cx="1075031" cy="1079107"/>
                    </a:xfrm>
                    <a:custGeom>
                      <a:avLst/>
                      <a:gdLst>
                        <a:gd name="T0" fmla="*/ 1989 w 3750"/>
                        <a:gd name="T1" fmla="*/ 3 h 3750"/>
                        <a:gd name="T2" fmla="*/ 2212 w 3750"/>
                        <a:gd name="T3" fmla="*/ 30 h 3750"/>
                        <a:gd name="T4" fmla="*/ 2426 w 3750"/>
                        <a:gd name="T5" fmla="*/ 83 h 3750"/>
                        <a:gd name="T6" fmla="*/ 2630 w 3750"/>
                        <a:gd name="T7" fmla="*/ 158 h 3750"/>
                        <a:gd name="T8" fmla="*/ 2821 w 3750"/>
                        <a:gd name="T9" fmla="*/ 256 h 3750"/>
                        <a:gd name="T10" fmla="*/ 3000 w 3750"/>
                        <a:gd name="T11" fmla="*/ 374 h 3750"/>
                        <a:gd name="T12" fmla="*/ 3163 w 3750"/>
                        <a:gd name="T13" fmla="*/ 512 h 3750"/>
                        <a:gd name="T14" fmla="*/ 3309 w 3750"/>
                        <a:gd name="T15" fmla="*/ 667 h 3750"/>
                        <a:gd name="T16" fmla="*/ 3438 w 3750"/>
                        <a:gd name="T17" fmla="*/ 837 h 3750"/>
                        <a:gd name="T18" fmla="*/ 3546 w 3750"/>
                        <a:gd name="T19" fmla="*/ 1023 h 3750"/>
                        <a:gd name="T20" fmla="*/ 3633 w 3750"/>
                        <a:gd name="T21" fmla="*/ 1221 h 3750"/>
                        <a:gd name="T22" fmla="*/ 3698 w 3750"/>
                        <a:gd name="T23" fmla="*/ 1429 h 3750"/>
                        <a:gd name="T24" fmla="*/ 3736 w 3750"/>
                        <a:gd name="T25" fmla="*/ 1649 h 3750"/>
                        <a:gd name="T26" fmla="*/ 3750 w 3750"/>
                        <a:gd name="T27" fmla="*/ 1875 h 3750"/>
                        <a:gd name="T28" fmla="*/ 3736 w 3750"/>
                        <a:gd name="T29" fmla="*/ 2102 h 3750"/>
                        <a:gd name="T30" fmla="*/ 3698 w 3750"/>
                        <a:gd name="T31" fmla="*/ 2320 h 3750"/>
                        <a:gd name="T32" fmla="*/ 3633 w 3750"/>
                        <a:gd name="T33" fmla="*/ 2529 h 3750"/>
                        <a:gd name="T34" fmla="*/ 3546 w 3750"/>
                        <a:gd name="T35" fmla="*/ 2727 h 3750"/>
                        <a:gd name="T36" fmla="*/ 3438 w 3750"/>
                        <a:gd name="T37" fmla="*/ 2912 h 3750"/>
                        <a:gd name="T38" fmla="*/ 3309 w 3750"/>
                        <a:gd name="T39" fmla="*/ 3083 h 3750"/>
                        <a:gd name="T40" fmla="*/ 3163 w 3750"/>
                        <a:gd name="T41" fmla="*/ 3238 h 3750"/>
                        <a:gd name="T42" fmla="*/ 3000 w 3750"/>
                        <a:gd name="T43" fmla="*/ 3376 h 3750"/>
                        <a:gd name="T44" fmla="*/ 2821 w 3750"/>
                        <a:gd name="T45" fmla="*/ 3494 h 3750"/>
                        <a:gd name="T46" fmla="*/ 2630 w 3750"/>
                        <a:gd name="T47" fmla="*/ 3592 h 3750"/>
                        <a:gd name="T48" fmla="*/ 2426 w 3750"/>
                        <a:gd name="T49" fmla="*/ 3668 h 3750"/>
                        <a:gd name="T50" fmla="*/ 2212 w 3750"/>
                        <a:gd name="T51" fmla="*/ 3719 h 3750"/>
                        <a:gd name="T52" fmla="*/ 1989 w 3750"/>
                        <a:gd name="T53" fmla="*/ 3747 h 3750"/>
                        <a:gd name="T54" fmla="*/ 1761 w 3750"/>
                        <a:gd name="T55" fmla="*/ 3747 h 3750"/>
                        <a:gd name="T56" fmla="*/ 1538 w 3750"/>
                        <a:gd name="T57" fmla="*/ 3719 h 3750"/>
                        <a:gd name="T58" fmla="*/ 1324 w 3750"/>
                        <a:gd name="T59" fmla="*/ 3668 h 3750"/>
                        <a:gd name="T60" fmla="*/ 1120 w 3750"/>
                        <a:gd name="T61" fmla="*/ 3592 h 3750"/>
                        <a:gd name="T62" fmla="*/ 929 w 3750"/>
                        <a:gd name="T63" fmla="*/ 3494 h 3750"/>
                        <a:gd name="T64" fmla="*/ 750 w 3750"/>
                        <a:gd name="T65" fmla="*/ 3376 h 3750"/>
                        <a:gd name="T66" fmla="*/ 587 w 3750"/>
                        <a:gd name="T67" fmla="*/ 3238 h 3750"/>
                        <a:gd name="T68" fmla="*/ 441 w 3750"/>
                        <a:gd name="T69" fmla="*/ 3083 h 3750"/>
                        <a:gd name="T70" fmla="*/ 312 w 3750"/>
                        <a:gd name="T71" fmla="*/ 2912 h 3750"/>
                        <a:gd name="T72" fmla="*/ 204 w 3750"/>
                        <a:gd name="T73" fmla="*/ 2727 h 3750"/>
                        <a:gd name="T74" fmla="*/ 117 w 3750"/>
                        <a:gd name="T75" fmla="*/ 2529 h 3750"/>
                        <a:gd name="T76" fmla="*/ 52 w 3750"/>
                        <a:gd name="T77" fmla="*/ 2320 h 3750"/>
                        <a:gd name="T78" fmla="*/ 14 w 3750"/>
                        <a:gd name="T79" fmla="*/ 2102 h 3750"/>
                        <a:gd name="T80" fmla="*/ 0 w 3750"/>
                        <a:gd name="T81" fmla="*/ 1875 h 3750"/>
                        <a:gd name="T82" fmla="*/ 14 w 3750"/>
                        <a:gd name="T83" fmla="*/ 1649 h 3750"/>
                        <a:gd name="T84" fmla="*/ 52 w 3750"/>
                        <a:gd name="T85" fmla="*/ 1429 h 3750"/>
                        <a:gd name="T86" fmla="*/ 117 w 3750"/>
                        <a:gd name="T87" fmla="*/ 1221 h 3750"/>
                        <a:gd name="T88" fmla="*/ 204 w 3750"/>
                        <a:gd name="T89" fmla="*/ 1023 h 3750"/>
                        <a:gd name="T90" fmla="*/ 312 w 3750"/>
                        <a:gd name="T91" fmla="*/ 837 h 3750"/>
                        <a:gd name="T92" fmla="*/ 441 w 3750"/>
                        <a:gd name="T93" fmla="*/ 667 h 3750"/>
                        <a:gd name="T94" fmla="*/ 587 w 3750"/>
                        <a:gd name="T95" fmla="*/ 512 h 3750"/>
                        <a:gd name="T96" fmla="*/ 750 w 3750"/>
                        <a:gd name="T97" fmla="*/ 374 h 3750"/>
                        <a:gd name="T98" fmla="*/ 929 w 3750"/>
                        <a:gd name="T99" fmla="*/ 256 h 3750"/>
                        <a:gd name="T100" fmla="*/ 1120 w 3750"/>
                        <a:gd name="T101" fmla="*/ 158 h 3750"/>
                        <a:gd name="T102" fmla="*/ 1324 w 3750"/>
                        <a:gd name="T103" fmla="*/ 83 h 3750"/>
                        <a:gd name="T104" fmla="*/ 1538 w 3750"/>
                        <a:gd name="T105" fmla="*/ 30 h 3750"/>
                        <a:gd name="T106" fmla="*/ 1761 w 3750"/>
                        <a:gd name="T107" fmla="*/ 3 h 37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750" h="3750">
                          <a:moveTo>
                            <a:pt x="1874" y="0"/>
                          </a:moveTo>
                          <a:lnTo>
                            <a:pt x="1989" y="3"/>
                          </a:lnTo>
                          <a:lnTo>
                            <a:pt x="2102" y="13"/>
                          </a:lnTo>
                          <a:lnTo>
                            <a:pt x="2212" y="30"/>
                          </a:lnTo>
                          <a:lnTo>
                            <a:pt x="2320" y="53"/>
                          </a:lnTo>
                          <a:lnTo>
                            <a:pt x="2426" y="83"/>
                          </a:lnTo>
                          <a:lnTo>
                            <a:pt x="2530" y="117"/>
                          </a:lnTo>
                          <a:lnTo>
                            <a:pt x="2630" y="158"/>
                          </a:lnTo>
                          <a:lnTo>
                            <a:pt x="2728" y="205"/>
                          </a:lnTo>
                          <a:lnTo>
                            <a:pt x="2821" y="256"/>
                          </a:lnTo>
                          <a:lnTo>
                            <a:pt x="2912" y="313"/>
                          </a:lnTo>
                          <a:lnTo>
                            <a:pt x="3000" y="374"/>
                          </a:lnTo>
                          <a:lnTo>
                            <a:pt x="3083" y="441"/>
                          </a:lnTo>
                          <a:lnTo>
                            <a:pt x="3163" y="512"/>
                          </a:lnTo>
                          <a:lnTo>
                            <a:pt x="3239" y="587"/>
                          </a:lnTo>
                          <a:lnTo>
                            <a:pt x="3309" y="667"/>
                          </a:lnTo>
                          <a:lnTo>
                            <a:pt x="3375" y="751"/>
                          </a:lnTo>
                          <a:lnTo>
                            <a:pt x="3438" y="837"/>
                          </a:lnTo>
                          <a:lnTo>
                            <a:pt x="3494" y="928"/>
                          </a:lnTo>
                          <a:lnTo>
                            <a:pt x="3546" y="1023"/>
                          </a:lnTo>
                          <a:lnTo>
                            <a:pt x="3592" y="1121"/>
                          </a:lnTo>
                          <a:lnTo>
                            <a:pt x="3633" y="1221"/>
                          </a:lnTo>
                          <a:lnTo>
                            <a:pt x="3668" y="1323"/>
                          </a:lnTo>
                          <a:lnTo>
                            <a:pt x="3698" y="1429"/>
                          </a:lnTo>
                          <a:lnTo>
                            <a:pt x="3720" y="1539"/>
                          </a:lnTo>
                          <a:lnTo>
                            <a:pt x="3736" y="1649"/>
                          </a:lnTo>
                          <a:lnTo>
                            <a:pt x="3747" y="1760"/>
                          </a:lnTo>
                          <a:lnTo>
                            <a:pt x="3750" y="1875"/>
                          </a:lnTo>
                          <a:lnTo>
                            <a:pt x="3747" y="1989"/>
                          </a:lnTo>
                          <a:lnTo>
                            <a:pt x="3736" y="2102"/>
                          </a:lnTo>
                          <a:lnTo>
                            <a:pt x="3720" y="2212"/>
                          </a:lnTo>
                          <a:lnTo>
                            <a:pt x="3698" y="2320"/>
                          </a:lnTo>
                          <a:lnTo>
                            <a:pt x="3668" y="2426"/>
                          </a:lnTo>
                          <a:lnTo>
                            <a:pt x="3633" y="2529"/>
                          </a:lnTo>
                          <a:lnTo>
                            <a:pt x="3592" y="2630"/>
                          </a:lnTo>
                          <a:lnTo>
                            <a:pt x="3546" y="2727"/>
                          </a:lnTo>
                          <a:lnTo>
                            <a:pt x="3494" y="2821"/>
                          </a:lnTo>
                          <a:lnTo>
                            <a:pt x="3438" y="2912"/>
                          </a:lnTo>
                          <a:lnTo>
                            <a:pt x="3375" y="3000"/>
                          </a:lnTo>
                          <a:lnTo>
                            <a:pt x="3309" y="3083"/>
                          </a:lnTo>
                          <a:lnTo>
                            <a:pt x="3239" y="3163"/>
                          </a:lnTo>
                          <a:lnTo>
                            <a:pt x="3163" y="3238"/>
                          </a:lnTo>
                          <a:lnTo>
                            <a:pt x="3083" y="3310"/>
                          </a:lnTo>
                          <a:lnTo>
                            <a:pt x="3000" y="3376"/>
                          </a:lnTo>
                          <a:lnTo>
                            <a:pt x="2912" y="3437"/>
                          </a:lnTo>
                          <a:lnTo>
                            <a:pt x="2821" y="3494"/>
                          </a:lnTo>
                          <a:lnTo>
                            <a:pt x="2728" y="3545"/>
                          </a:lnTo>
                          <a:lnTo>
                            <a:pt x="2630" y="3592"/>
                          </a:lnTo>
                          <a:lnTo>
                            <a:pt x="2530" y="3633"/>
                          </a:lnTo>
                          <a:lnTo>
                            <a:pt x="2426" y="3668"/>
                          </a:lnTo>
                          <a:lnTo>
                            <a:pt x="2320" y="3697"/>
                          </a:lnTo>
                          <a:lnTo>
                            <a:pt x="2212" y="3719"/>
                          </a:lnTo>
                          <a:lnTo>
                            <a:pt x="2102" y="3736"/>
                          </a:lnTo>
                          <a:lnTo>
                            <a:pt x="1989" y="3747"/>
                          </a:lnTo>
                          <a:lnTo>
                            <a:pt x="1874" y="3750"/>
                          </a:lnTo>
                          <a:lnTo>
                            <a:pt x="1761" y="3747"/>
                          </a:lnTo>
                          <a:lnTo>
                            <a:pt x="1648" y="3736"/>
                          </a:lnTo>
                          <a:lnTo>
                            <a:pt x="1538" y="3719"/>
                          </a:lnTo>
                          <a:lnTo>
                            <a:pt x="1430" y="3697"/>
                          </a:lnTo>
                          <a:lnTo>
                            <a:pt x="1324" y="3668"/>
                          </a:lnTo>
                          <a:lnTo>
                            <a:pt x="1220" y="3633"/>
                          </a:lnTo>
                          <a:lnTo>
                            <a:pt x="1120" y="3592"/>
                          </a:lnTo>
                          <a:lnTo>
                            <a:pt x="1022" y="3545"/>
                          </a:lnTo>
                          <a:lnTo>
                            <a:pt x="929" y="3494"/>
                          </a:lnTo>
                          <a:lnTo>
                            <a:pt x="838" y="3437"/>
                          </a:lnTo>
                          <a:lnTo>
                            <a:pt x="750" y="3376"/>
                          </a:lnTo>
                          <a:lnTo>
                            <a:pt x="667" y="3310"/>
                          </a:lnTo>
                          <a:lnTo>
                            <a:pt x="587" y="3238"/>
                          </a:lnTo>
                          <a:lnTo>
                            <a:pt x="511" y="3163"/>
                          </a:lnTo>
                          <a:lnTo>
                            <a:pt x="441" y="3083"/>
                          </a:lnTo>
                          <a:lnTo>
                            <a:pt x="375" y="3000"/>
                          </a:lnTo>
                          <a:lnTo>
                            <a:pt x="312" y="2912"/>
                          </a:lnTo>
                          <a:lnTo>
                            <a:pt x="256" y="2821"/>
                          </a:lnTo>
                          <a:lnTo>
                            <a:pt x="204" y="2727"/>
                          </a:lnTo>
                          <a:lnTo>
                            <a:pt x="158" y="2630"/>
                          </a:lnTo>
                          <a:lnTo>
                            <a:pt x="117" y="2529"/>
                          </a:lnTo>
                          <a:lnTo>
                            <a:pt x="82" y="2426"/>
                          </a:lnTo>
                          <a:lnTo>
                            <a:pt x="52" y="2320"/>
                          </a:lnTo>
                          <a:lnTo>
                            <a:pt x="30" y="2212"/>
                          </a:lnTo>
                          <a:lnTo>
                            <a:pt x="14" y="2102"/>
                          </a:lnTo>
                          <a:lnTo>
                            <a:pt x="3" y="1989"/>
                          </a:lnTo>
                          <a:lnTo>
                            <a:pt x="0" y="1875"/>
                          </a:lnTo>
                          <a:lnTo>
                            <a:pt x="3" y="1760"/>
                          </a:lnTo>
                          <a:lnTo>
                            <a:pt x="14" y="1649"/>
                          </a:lnTo>
                          <a:lnTo>
                            <a:pt x="30" y="1539"/>
                          </a:lnTo>
                          <a:lnTo>
                            <a:pt x="52" y="1429"/>
                          </a:lnTo>
                          <a:lnTo>
                            <a:pt x="82" y="1323"/>
                          </a:lnTo>
                          <a:lnTo>
                            <a:pt x="117" y="1221"/>
                          </a:lnTo>
                          <a:lnTo>
                            <a:pt x="158" y="1121"/>
                          </a:lnTo>
                          <a:lnTo>
                            <a:pt x="204" y="1023"/>
                          </a:lnTo>
                          <a:lnTo>
                            <a:pt x="256" y="928"/>
                          </a:lnTo>
                          <a:lnTo>
                            <a:pt x="312" y="837"/>
                          </a:lnTo>
                          <a:lnTo>
                            <a:pt x="375" y="751"/>
                          </a:lnTo>
                          <a:lnTo>
                            <a:pt x="441" y="667"/>
                          </a:lnTo>
                          <a:lnTo>
                            <a:pt x="511" y="587"/>
                          </a:lnTo>
                          <a:lnTo>
                            <a:pt x="587" y="512"/>
                          </a:lnTo>
                          <a:lnTo>
                            <a:pt x="667" y="441"/>
                          </a:lnTo>
                          <a:lnTo>
                            <a:pt x="750" y="374"/>
                          </a:lnTo>
                          <a:lnTo>
                            <a:pt x="838" y="313"/>
                          </a:lnTo>
                          <a:lnTo>
                            <a:pt x="929" y="256"/>
                          </a:lnTo>
                          <a:lnTo>
                            <a:pt x="1022" y="205"/>
                          </a:lnTo>
                          <a:lnTo>
                            <a:pt x="1120" y="158"/>
                          </a:lnTo>
                          <a:lnTo>
                            <a:pt x="1220" y="117"/>
                          </a:lnTo>
                          <a:lnTo>
                            <a:pt x="1324" y="83"/>
                          </a:lnTo>
                          <a:lnTo>
                            <a:pt x="1430" y="53"/>
                          </a:lnTo>
                          <a:lnTo>
                            <a:pt x="1538" y="30"/>
                          </a:lnTo>
                          <a:lnTo>
                            <a:pt x="1648" y="13"/>
                          </a:lnTo>
                          <a:lnTo>
                            <a:pt x="1761" y="3"/>
                          </a:lnTo>
                          <a:lnTo>
                            <a:pt x="1874" y="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50000"/>
                      </a:schemeClr>
                    </a:solidFill>
                    <a:ln w="0">
                      <a:solidFill>
                        <a:schemeClr val="tx2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29" name="Freeform 48"/>
                    <p:cNvSpPr>
                      <a:spLocks/>
                    </p:cNvSpPr>
                    <p:nvPr/>
                  </p:nvSpPr>
                  <p:spPr bwMode="auto">
                    <a:xfrm>
                      <a:off x="2376801" y="4929443"/>
                      <a:ext cx="239814" cy="281146"/>
                    </a:xfrm>
                    <a:custGeom>
                      <a:avLst/>
                      <a:gdLst>
                        <a:gd name="T0" fmla="*/ 464 w 831"/>
                        <a:gd name="T1" fmla="*/ 3 h 966"/>
                        <a:gd name="T2" fmla="*/ 555 w 831"/>
                        <a:gd name="T3" fmla="*/ 25 h 966"/>
                        <a:gd name="T4" fmla="*/ 638 w 831"/>
                        <a:gd name="T5" fmla="*/ 67 h 966"/>
                        <a:gd name="T6" fmla="*/ 709 w 831"/>
                        <a:gd name="T7" fmla="*/ 127 h 966"/>
                        <a:gd name="T8" fmla="*/ 766 w 831"/>
                        <a:gd name="T9" fmla="*/ 203 h 966"/>
                        <a:gd name="T10" fmla="*/ 807 w 831"/>
                        <a:gd name="T11" fmla="*/ 293 h 966"/>
                        <a:gd name="T12" fmla="*/ 829 w 831"/>
                        <a:gd name="T13" fmla="*/ 395 h 966"/>
                        <a:gd name="T14" fmla="*/ 829 w 831"/>
                        <a:gd name="T15" fmla="*/ 502 h 966"/>
                        <a:gd name="T16" fmla="*/ 810 w 831"/>
                        <a:gd name="T17" fmla="*/ 603 h 966"/>
                        <a:gd name="T18" fmla="*/ 774 w 831"/>
                        <a:gd name="T19" fmla="*/ 698 h 966"/>
                        <a:gd name="T20" fmla="*/ 724 w 831"/>
                        <a:gd name="T21" fmla="*/ 785 h 966"/>
                        <a:gd name="T22" fmla="*/ 661 w 831"/>
                        <a:gd name="T23" fmla="*/ 859 h 966"/>
                        <a:gd name="T24" fmla="*/ 587 w 831"/>
                        <a:gd name="T25" fmla="*/ 916 h 966"/>
                        <a:gd name="T26" fmla="*/ 504 w 831"/>
                        <a:gd name="T27" fmla="*/ 952 h 966"/>
                        <a:gd name="T28" fmla="*/ 415 w 831"/>
                        <a:gd name="T29" fmla="*/ 966 h 966"/>
                        <a:gd name="T30" fmla="*/ 329 w 831"/>
                        <a:gd name="T31" fmla="*/ 953 h 966"/>
                        <a:gd name="T32" fmla="*/ 248 w 831"/>
                        <a:gd name="T33" fmla="*/ 918 h 966"/>
                        <a:gd name="T34" fmla="*/ 176 w 831"/>
                        <a:gd name="T35" fmla="*/ 864 h 966"/>
                        <a:gd name="T36" fmla="*/ 114 w 831"/>
                        <a:gd name="T37" fmla="*/ 794 h 966"/>
                        <a:gd name="T38" fmla="*/ 118 w 831"/>
                        <a:gd name="T39" fmla="*/ 772 h 966"/>
                        <a:gd name="T40" fmla="*/ 194 w 831"/>
                        <a:gd name="T41" fmla="*/ 803 h 966"/>
                        <a:gd name="T42" fmla="*/ 290 w 831"/>
                        <a:gd name="T43" fmla="*/ 824 h 966"/>
                        <a:gd name="T44" fmla="*/ 309 w 831"/>
                        <a:gd name="T45" fmla="*/ 852 h 966"/>
                        <a:gd name="T46" fmla="*/ 342 w 831"/>
                        <a:gd name="T47" fmla="*/ 871 h 966"/>
                        <a:gd name="T48" fmla="*/ 388 w 831"/>
                        <a:gd name="T49" fmla="*/ 878 h 966"/>
                        <a:gd name="T50" fmla="*/ 439 w 831"/>
                        <a:gd name="T51" fmla="*/ 871 h 966"/>
                        <a:gd name="T52" fmla="*/ 478 w 831"/>
                        <a:gd name="T53" fmla="*/ 850 h 966"/>
                        <a:gd name="T54" fmla="*/ 501 w 831"/>
                        <a:gd name="T55" fmla="*/ 820 h 966"/>
                        <a:gd name="T56" fmla="*/ 501 w 831"/>
                        <a:gd name="T57" fmla="*/ 785 h 966"/>
                        <a:gd name="T58" fmla="*/ 478 w 831"/>
                        <a:gd name="T59" fmla="*/ 754 h 966"/>
                        <a:gd name="T60" fmla="*/ 439 w 831"/>
                        <a:gd name="T61" fmla="*/ 733 h 966"/>
                        <a:gd name="T62" fmla="*/ 388 w 831"/>
                        <a:gd name="T63" fmla="*/ 726 h 966"/>
                        <a:gd name="T64" fmla="*/ 344 w 831"/>
                        <a:gd name="T65" fmla="*/ 733 h 966"/>
                        <a:gd name="T66" fmla="*/ 312 w 831"/>
                        <a:gd name="T67" fmla="*/ 753 h 966"/>
                        <a:gd name="T68" fmla="*/ 253 w 831"/>
                        <a:gd name="T69" fmla="*/ 759 h 966"/>
                        <a:gd name="T70" fmla="*/ 175 w 831"/>
                        <a:gd name="T71" fmla="*/ 735 h 966"/>
                        <a:gd name="T72" fmla="*/ 114 w 831"/>
                        <a:gd name="T73" fmla="*/ 703 h 966"/>
                        <a:gd name="T74" fmla="*/ 68 w 831"/>
                        <a:gd name="T75" fmla="*/ 667 h 966"/>
                        <a:gd name="T76" fmla="*/ 35 w 831"/>
                        <a:gd name="T77" fmla="*/ 628 h 966"/>
                        <a:gd name="T78" fmla="*/ 11 w 831"/>
                        <a:gd name="T79" fmla="*/ 556 h 966"/>
                        <a:gd name="T80" fmla="*/ 0 w 831"/>
                        <a:gd name="T81" fmla="*/ 449 h 966"/>
                        <a:gd name="T82" fmla="*/ 11 w 831"/>
                        <a:gd name="T83" fmla="*/ 342 h 966"/>
                        <a:gd name="T84" fmla="*/ 42 w 831"/>
                        <a:gd name="T85" fmla="*/ 247 h 966"/>
                        <a:gd name="T86" fmla="*/ 91 w 831"/>
                        <a:gd name="T87" fmla="*/ 164 h 966"/>
                        <a:gd name="T88" fmla="*/ 156 w 831"/>
                        <a:gd name="T89" fmla="*/ 95 h 966"/>
                        <a:gd name="T90" fmla="*/ 233 w 831"/>
                        <a:gd name="T91" fmla="*/ 44 h 966"/>
                        <a:gd name="T92" fmla="*/ 321 w 831"/>
                        <a:gd name="T93" fmla="*/ 11 h 966"/>
                        <a:gd name="T94" fmla="*/ 415 w 831"/>
                        <a:gd name="T95" fmla="*/ 0 h 9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831" h="966">
                          <a:moveTo>
                            <a:pt x="415" y="0"/>
                          </a:moveTo>
                          <a:lnTo>
                            <a:pt x="464" y="3"/>
                          </a:lnTo>
                          <a:lnTo>
                            <a:pt x="511" y="11"/>
                          </a:lnTo>
                          <a:lnTo>
                            <a:pt x="555" y="25"/>
                          </a:lnTo>
                          <a:lnTo>
                            <a:pt x="599" y="44"/>
                          </a:lnTo>
                          <a:lnTo>
                            <a:pt x="638" y="67"/>
                          </a:lnTo>
                          <a:lnTo>
                            <a:pt x="675" y="95"/>
                          </a:lnTo>
                          <a:lnTo>
                            <a:pt x="709" y="127"/>
                          </a:lnTo>
                          <a:lnTo>
                            <a:pt x="740" y="164"/>
                          </a:lnTo>
                          <a:lnTo>
                            <a:pt x="766" y="203"/>
                          </a:lnTo>
                          <a:lnTo>
                            <a:pt x="789" y="247"/>
                          </a:lnTo>
                          <a:lnTo>
                            <a:pt x="807" y="293"/>
                          </a:lnTo>
                          <a:lnTo>
                            <a:pt x="821" y="342"/>
                          </a:lnTo>
                          <a:lnTo>
                            <a:pt x="829" y="395"/>
                          </a:lnTo>
                          <a:lnTo>
                            <a:pt x="831" y="449"/>
                          </a:lnTo>
                          <a:lnTo>
                            <a:pt x="829" y="502"/>
                          </a:lnTo>
                          <a:lnTo>
                            <a:pt x="822" y="553"/>
                          </a:lnTo>
                          <a:lnTo>
                            <a:pt x="810" y="603"/>
                          </a:lnTo>
                          <a:lnTo>
                            <a:pt x="794" y="652"/>
                          </a:lnTo>
                          <a:lnTo>
                            <a:pt x="774" y="698"/>
                          </a:lnTo>
                          <a:lnTo>
                            <a:pt x="751" y="744"/>
                          </a:lnTo>
                          <a:lnTo>
                            <a:pt x="724" y="785"/>
                          </a:lnTo>
                          <a:lnTo>
                            <a:pt x="694" y="824"/>
                          </a:lnTo>
                          <a:lnTo>
                            <a:pt x="661" y="859"/>
                          </a:lnTo>
                          <a:lnTo>
                            <a:pt x="625" y="890"/>
                          </a:lnTo>
                          <a:lnTo>
                            <a:pt x="587" y="916"/>
                          </a:lnTo>
                          <a:lnTo>
                            <a:pt x="547" y="938"/>
                          </a:lnTo>
                          <a:lnTo>
                            <a:pt x="504" y="952"/>
                          </a:lnTo>
                          <a:lnTo>
                            <a:pt x="461" y="963"/>
                          </a:lnTo>
                          <a:lnTo>
                            <a:pt x="415" y="966"/>
                          </a:lnTo>
                          <a:lnTo>
                            <a:pt x="371" y="963"/>
                          </a:lnTo>
                          <a:lnTo>
                            <a:pt x="329" y="953"/>
                          </a:lnTo>
                          <a:lnTo>
                            <a:pt x="288" y="939"/>
                          </a:lnTo>
                          <a:lnTo>
                            <a:pt x="248" y="918"/>
                          </a:lnTo>
                          <a:lnTo>
                            <a:pt x="212" y="893"/>
                          </a:lnTo>
                          <a:lnTo>
                            <a:pt x="176" y="864"/>
                          </a:lnTo>
                          <a:lnTo>
                            <a:pt x="143" y="831"/>
                          </a:lnTo>
                          <a:lnTo>
                            <a:pt x="114" y="794"/>
                          </a:lnTo>
                          <a:lnTo>
                            <a:pt x="86" y="753"/>
                          </a:lnTo>
                          <a:lnTo>
                            <a:pt x="118" y="772"/>
                          </a:lnTo>
                          <a:lnTo>
                            <a:pt x="155" y="788"/>
                          </a:lnTo>
                          <a:lnTo>
                            <a:pt x="194" y="803"/>
                          </a:lnTo>
                          <a:lnTo>
                            <a:pt x="240" y="815"/>
                          </a:lnTo>
                          <a:lnTo>
                            <a:pt x="290" y="824"/>
                          </a:lnTo>
                          <a:lnTo>
                            <a:pt x="298" y="838"/>
                          </a:lnTo>
                          <a:lnTo>
                            <a:pt x="309" y="852"/>
                          </a:lnTo>
                          <a:lnTo>
                            <a:pt x="324" y="864"/>
                          </a:lnTo>
                          <a:lnTo>
                            <a:pt x="342" y="871"/>
                          </a:lnTo>
                          <a:lnTo>
                            <a:pt x="363" y="877"/>
                          </a:lnTo>
                          <a:lnTo>
                            <a:pt x="388" y="878"/>
                          </a:lnTo>
                          <a:lnTo>
                            <a:pt x="414" y="877"/>
                          </a:lnTo>
                          <a:lnTo>
                            <a:pt x="439" y="871"/>
                          </a:lnTo>
                          <a:lnTo>
                            <a:pt x="461" y="862"/>
                          </a:lnTo>
                          <a:lnTo>
                            <a:pt x="478" y="850"/>
                          </a:lnTo>
                          <a:lnTo>
                            <a:pt x="492" y="836"/>
                          </a:lnTo>
                          <a:lnTo>
                            <a:pt x="501" y="820"/>
                          </a:lnTo>
                          <a:lnTo>
                            <a:pt x="504" y="803"/>
                          </a:lnTo>
                          <a:lnTo>
                            <a:pt x="501" y="785"/>
                          </a:lnTo>
                          <a:lnTo>
                            <a:pt x="492" y="769"/>
                          </a:lnTo>
                          <a:lnTo>
                            <a:pt x="478" y="754"/>
                          </a:lnTo>
                          <a:lnTo>
                            <a:pt x="461" y="743"/>
                          </a:lnTo>
                          <a:lnTo>
                            <a:pt x="439" y="733"/>
                          </a:lnTo>
                          <a:lnTo>
                            <a:pt x="414" y="727"/>
                          </a:lnTo>
                          <a:lnTo>
                            <a:pt x="388" y="726"/>
                          </a:lnTo>
                          <a:lnTo>
                            <a:pt x="363" y="727"/>
                          </a:lnTo>
                          <a:lnTo>
                            <a:pt x="344" y="733"/>
                          </a:lnTo>
                          <a:lnTo>
                            <a:pt x="327" y="742"/>
                          </a:lnTo>
                          <a:lnTo>
                            <a:pt x="312" y="753"/>
                          </a:lnTo>
                          <a:lnTo>
                            <a:pt x="299" y="767"/>
                          </a:lnTo>
                          <a:lnTo>
                            <a:pt x="253" y="759"/>
                          </a:lnTo>
                          <a:lnTo>
                            <a:pt x="212" y="747"/>
                          </a:lnTo>
                          <a:lnTo>
                            <a:pt x="175" y="735"/>
                          </a:lnTo>
                          <a:lnTo>
                            <a:pt x="142" y="720"/>
                          </a:lnTo>
                          <a:lnTo>
                            <a:pt x="114" y="703"/>
                          </a:lnTo>
                          <a:lnTo>
                            <a:pt x="89" y="685"/>
                          </a:lnTo>
                          <a:lnTo>
                            <a:pt x="68" y="667"/>
                          </a:lnTo>
                          <a:lnTo>
                            <a:pt x="50" y="647"/>
                          </a:lnTo>
                          <a:lnTo>
                            <a:pt x="35" y="628"/>
                          </a:lnTo>
                          <a:lnTo>
                            <a:pt x="24" y="609"/>
                          </a:lnTo>
                          <a:lnTo>
                            <a:pt x="11" y="556"/>
                          </a:lnTo>
                          <a:lnTo>
                            <a:pt x="3" y="503"/>
                          </a:lnTo>
                          <a:lnTo>
                            <a:pt x="0" y="449"/>
                          </a:lnTo>
                          <a:lnTo>
                            <a:pt x="3" y="395"/>
                          </a:lnTo>
                          <a:lnTo>
                            <a:pt x="11" y="342"/>
                          </a:lnTo>
                          <a:lnTo>
                            <a:pt x="25" y="293"/>
                          </a:lnTo>
                          <a:lnTo>
                            <a:pt x="42" y="247"/>
                          </a:lnTo>
                          <a:lnTo>
                            <a:pt x="65" y="203"/>
                          </a:lnTo>
                          <a:lnTo>
                            <a:pt x="91" y="164"/>
                          </a:lnTo>
                          <a:lnTo>
                            <a:pt x="122" y="127"/>
                          </a:lnTo>
                          <a:lnTo>
                            <a:pt x="156" y="95"/>
                          </a:lnTo>
                          <a:lnTo>
                            <a:pt x="193" y="67"/>
                          </a:lnTo>
                          <a:lnTo>
                            <a:pt x="233" y="44"/>
                          </a:lnTo>
                          <a:lnTo>
                            <a:pt x="275" y="25"/>
                          </a:lnTo>
                          <a:lnTo>
                            <a:pt x="321" y="11"/>
                          </a:lnTo>
                          <a:lnTo>
                            <a:pt x="367" y="3"/>
                          </a:lnTo>
                          <a:lnTo>
                            <a:pt x="415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30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2227950" y="5231260"/>
                      <a:ext cx="541651" cy="264608"/>
                    </a:xfrm>
                    <a:custGeom>
                      <a:avLst/>
                      <a:gdLst>
                        <a:gd name="T0" fmla="*/ 670 w 1876"/>
                        <a:gd name="T1" fmla="*/ 0 h 932"/>
                        <a:gd name="T2" fmla="*/ 932 w 1876"/>
                        <a:gd name="T3" fmla="*/ 785 h 932"/>
                        <a:gd name="T4" fmla="*/ 1206 w 1876"/>
                        <a:gd name="T5" fmla="*/ 0 h 932"/>
                        <a:gd name="T6" fmla="*/ 1266 w 1876"/>
                        <a:gd name="T7" fmla="*/ 2 h 932"/>
                        <a:gd name="T8" fmla="*/ 1324 w 1876"/>
                        <a:gd name="T9" fmla="*/ 10 h 932"/>
                        <a:gd name="T10" fmla="*/ 1379 w 1876"/>
                        <a:gd name="T11" fmla="*/ 24 h 932"/>
                        <a:gd name="T12" fmla="*/ 1431 w 1876"/>
                        <a:gd name="T13" fmla="*/ 43 h 932"/>
                        <a:gd name="T14" fmla="*/ 1481 w 1876"/>
                        <a:gd name="T15" fmla="*/ 66 h 932"/>
                        <a:gd name="T16" fmla="*/ 1528 w 1876"/>
                        <a:gd name="T17" fmla="*/ 94 h 932"/>
                        <a:gd name="T18" fmla="*/ 1571 w 1876"/>
                        <a:gd name="T19" fmla="*/ 126 h 932"/>
                        <a:gd name="T20" fmla="*/ 1612 w 1876"/>
                        <a:gd name="T21" fmla="*/ 164 h 932"/>
                        <a:gd name="T22" fmla="*/ 1651 w 1876"/>
                        <a:gd name="T23" fmla="*/ 205 h 932"/>
                        <a:gd name="T24" fmla="*/ 1686 w 1876"/>
                        <a:gd name="T25" fmla="*/ 249 h 932"/>
                        <a:gd name="T26" fmla="*/ 1719 w 1876"/>
                        <a:gd name="T27" fmla="*/ 297 h 932"/>
                        <a:gd name="T28" fmla="*/ 1749 w 1876"/>
                        <a:gd name="T29" fmla="*/ 348 h 932"/>
                        <a:gd name="T30" fmla="*/ 1775 w 1876"/>
                        <a:gd name="T31" fmla="*/ 404 h 932"/>
                        <a:gd name="T32" fmla="*/ 1798 w 1876"/>
                        <a:gd name="T33" fmla="*/ 461 h 932"/>
                        <a:gd name="T34" fmla="*/ 1818 w 1876"/>
                        <a:gd name="T35" fmla="*/ 522 h 932"/>
                        <a:gd name="T36" fmla="*/ 1836 w 1876"/>
                        <a:gd name="T37" fmla="*/ 585 h 932"/>
                        <a:gd name="T38" fmla="*/ 1850 w 1876"/>
                        <a:gd name="T39" fmla="*/ 651 h 932"/>
                        <a:gd name="T40" fmla="*/ 1861 w 1876"/>
                        <a:gd name="T41" fmla="*/ 718 h 932"/>
                        <a:gd name="T42" fmla="*/ 1869 w 1876"/>
                        <a:gd name="T43" fmla="*/ 787 h 932"/>
                        <a:gd name="T44" fmla="*/ 1874 w 1876"/>
                        <a:gd name="T45" fmla="*/ 859 h 932"/>
                        <a:gd name="T46" fmla="*/ 1876 w 1876"/>
                        <a:gd name="T47" fmla="*/ 932 h 932"/>
                        <a:gd name="T48" fmla="*/ 0 w 1876"/>
                        <a:gd name="T49" fmla="*/ 932 h 932"/>
                        <a:gd name="T50" fmla="*/ 2 w 1876"/>
                        <a:gd name="T51" fmla="*/ 859 h 932"/>
                        <a:gd name="T52" fmla="*/ 7 w 1876"/>
                        <a:gd name="T53" fmla="*/ 787 h 932"/>
                        <a:gd name="T54" fmla="*/ 15 w 1876"/>
                        <a:gd name="T55" fmla="*/ 718 h 932"/>
                        <a:gd name="T56" fmla="*/ 26 w 1876"/>
                        <a:gd name="T57" fmla="*/ 651 h 932"/>
                        <a:gd name="T58" fmla="*/ 40 w 1876"/>
                        <a:gd name="T59" fmla="*/ 585 h 932"/>
                        <a:gd name="T60" fmla="*/ 58 w 1876"/>
                        <a:gd name="T61" fmla="*/ 522 h 932"/>
                        <a:gd name="T62" fmla="*/ 78 w 1876"/>
                        <a:gd name="T63" fmla="*/ 461 h 932"/>
                        <a:gd name="T64" fmla="*/ 101 w 1876"/>
                        <a:gd name="T65" fmla="*/ 404 h 932"/>
                        <a:gd name="T66" fmla="*/ 127 w 1876"/>
                        <a:gd name="T67" fmla="*/ 348 h 932"/>
                        <a:gd name="T68" fmla="*/ 157 w 1876"/>
                        <a:gd name="T69" fmla="*/ 297 h 932"/>
                        <a:gd name="T70" fmla="*/ 190 w 1876"/>
                        <a:gd name="T71" fmla="*/ 249 h 932"/>
                        <a:gd name="T72" fmla="*/ 225 w 1876"/>
                        <a:gd name="T73" fmla="*/ 205 h 932"/>
                        <a:gd name="T74" fmla="*/ 263 w 1876"/>
                        <a:gd name="T75" fmla="*/ 164 h 932"/>
                        <a:gd name="T76" fmla="*/ 305 w 1876"/>
                        <a:gd name="T77" fmla="*/ 126 h 932"/>
                        <a:gd name="T78" fmla="*/ 348 w 1876"/>
                        <a:gd name="T79" fmla="*/ 94 h 932"/>
                        <a:gd name="T80" fmla="*/ 395 w 1876"/>
                        <a:gd name="T81" fmla="*/ 66 h 932"/>
                        <a:gd name="T82" fmla="*/ 445 w 1876"/>
                        <a:gd name="T83" fmla="*/ 43 h 932"/>
                        <a:gd name="T84" fmla="*/ 497 w 1876"/>
                        <a:gd name="T85" fmla="*/ 24 h 932"/>
                        <a:gd name="T86" fmla="*/ 552 w 1876"/>
                        <a:gd name="T87" fmla="*/ 10 h 932"/>
                        <a:gd name="T88" fmla="*/ 610 w 1876"/>
                        <a:gd name="T89" fmla="*/ 2 h 932"/>
                        <a:gd name="T90" fmla="*/ 670 w 1876"/>
                        <a:gd name="T91" fmla="*/ 0 h 9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876" h="932">
                          <a:moveTo>
                            <a:pt x="670" y="0"/>
                          </a:moveTo>
                          <a:lnTo>
                            <a:pt x="932" y="785"/>
                          </a:lnTo>
                          <a:lnTo>
                            <a:pt x="1206" y="0"/>
                          </a:lnTo>
                          <a:lnTo>
                            <a:pt x="1266" y="2"/>
                          </a:lnTo>
                          <a:lnTo>
                            <a:pt x="1324" y="10"/>
                          </a:lnTo>
                          <a:lnTo>
                            <a:pt x="1379" y="24"/>
                          </a:lnTo>
                          <a:lnTo>
                            <a:pt x="1431" y="43"/>
                          </a:lnTo>
                          <a:lnTo>
                            <a:pt x="1481" y="66"/>
                          </a:lnTo>
                          <a:lnTo>
                            <a:pt x="1528" y="94"/>
                          </a:lnTo>
                          <a:lnTo>
                            <a:pt x="1571" y="126"/>
                          </a:lnTo>
                          <a:lnTo>
                            <a:pt x="1612" y="164"/>
                          </a:lnTo>
                          <a:lnTo>
                            <a:pt x="1651" y="205"/>
                          </a:lnTo>
                          <a:lnTo>
                            <a:pt x="1686" y="249"/>
                          </a:lnTo>
                          <a:lnTo>
                            <a:pt x="1719" y="297"/>
                          </a:lnTo>
                          <a:lnTo>
                            <a:pt x="1749" y="348"/>
                          </a:lnTo>
                          <a:lnTo>
                            <a:pt x="1775" y="404"/>
                          </a:lnTo>
                          <a:lnTo>
                            <a:pt x="1798" y="461"/>
                          </a:lnTo>
                          <a:lnTo>
                            <a:pt x="1818" y="522"/>
                          </a:lnTo>
                          <a:lnTo>
                            <a:pt x="1836" y="585"/>
                          </a:lnTo>
                          <a:lnTo>
                            <a:pt x="1850" y="651"/>
                          </a:lnTo>
                          <a:lnTo>
                            <a:pt x="1861" y="718"/>
                          </a:lnTo>
                          <a:lnTo>
                            <a:pt x="1869" y="787"/>
                          </a:lnTo>
                          <a:lnTo>
                            <a:pt x="1874" y="859"/>
                          </a:lnTo>
                          <a:lnTo>
                            <a:pt x="1876" y="932"/>
                          </a:lnTo>
                          <a:lnTo>
                            <a:pt x="0" y="932"/>
                          </a:lnTo>
                          <a:lnTo>
                            <a:pt x="2" y="859"/>
                          </a:lnTo>
                          <a:lnTo>
                            <a:pt x="7" y="787"/>
                          </a:lnTo>
                          <a:lnTo>
                            <a:pt x="15" y="718"/>
                          </a:lnTo>
                          <a:lnTo>
                            <a:pt x="26" y="651"/>
                          </a:lnTo>
                          <a:lnTo>
                            <a:pt x="40" y="585"/>
                          </a:lnTo>
                          <a:lnTo>
                            <a:pt x="58" y="522"/>
                          </a:lnTo>
                          <a:lnTo>
                            <a:pt x="78" y="461"/>
                          </a:lnTo>
                          <a:lnTo>
                            <a:pt x="101" y="404"/>
                          </a:lnTo>
                          <a:lnTo>
                            <a:pt x="127" y="348"/>
                          </a:lnTo>
                          <a:lnTo>
                            <a:pt x="157" y="297"/>
                          </a:lnTo>
                          <a:lnTo>
                            <a:pt x="190" y="249"/>
                          </a:lnTo>
                          <a:lnTo>
                            <a:pt x="225" y="205"/>
                          </a:lnTo>
                          <a:lnTo>
                            <a:pt x="263" y="164"/>
                          </a:lnTo>
                          <a:lnTo>
                            <a:pt x="305" y="126"/>
                          </a:lnTo>
                          <a:lnTo>
                            <a:pt x="348" y="94"/>
                          </a:lnTo>
                          <a:lnTo>
                            <a:pt x="395" y="66"/>
                          </a:lnTo>
                          <a:lnTo>
                            <a:pt x="445" y="43"/>
                          </a:lnTo>
                          <a:lnTo>
                            <a:pt x="497" y="24"/>
                          </a:lnTo>
                          <a:lnTo>
                            <a:pt x="552" y="10"/>
                          </a:lnTo>
                          <a:lnTo>
                            <a:pt x="610" y="2"/>
                          </a:lnTo>
                          <a:lnTo>
                            <a:pt x="67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31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2459495" y="5227127"/>
                      <a:ext cx="78561" cy="169513"/>
                    </a:xfrm>
                    <a:custGeom>
                      <a:avLst/>
                      <a:gdLst>
                        <a:gd name="T0" fmla="*/ 141 w 282"/>
                        <a:gd name="T1" fmla="*/ 0 h 591"/>
                        <a:gd name="T2" fmla="*/ 282 w 282"/>
                        <a:gd name="T3" fmla="*/ 148 h 591"/>
                        <a:gd name="T4" fmla="*/ 141 w 282"/>
                        <a:gd name="T5" fmla="*/ 591 h 591"/>
                        <a:gd name="T6" fmla="*/ 0 w 282"/>
                        <a:gd name="T7" fmla="*/ 148 h 591"/>
                        <a:gd name="T8" fmla="*/ 141 w 282"/>
                        <a:gd name="T9" fmla="*/ 0 h 5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591">
                          <a:moveTo>
                            <a:pt x="141" y="0"/>
                          </a:moveTo>
                          <a:lnTo>
                            <a:pt x="282" y="148"/>
                          </a:lnTo>
                          <a:lnTo>
                            <a:pt x="141" y="591"/>
                          </a:lnTo>
                          <a:lnTo>
                            <a:pt x="0" y="148"/>
                          </a:lnTo>
                          <a:lnTo>
                            <a:pt x="141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  <p:sp>
                  <p:nvSpPr>
                    <p:cNvPr id="32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2318914" y="4892231"/>
                      <a:ext cx="355587" cy="219130"/>
                    </a:xfrm>
                    <a:custGeom>
                      <a:avLst/>
                      <a:gdLst>
                        <a:gd name="T0" fmla="*/ 620 w 1237"/>
                        <a:gd name="T1" fmla="*/ 0 h 772"/>
                        <a:gd name="T2" fmla="*/ 640 w 1237"/>
                        <a:gd name="T3" fmla="*/ 0 h 772"/>
                        <a:gd name="T4" fmla="*/ 794 w 1237"/>
                        <a:gd name="T5" fmla="*/ 36 h 772"/>
                        <a:gd name="T6" fmla="*/ 929 w 1237"/>
                        <a:gd name="T7" fmla="*/ 120 h 772"/>
                        <a:gd name="T8" fmla="*/ 1034 w 1237"/>
                        <a:gd name="T9" fmla="*/ 223 h 772"/>
                        <a:gd name="T10" fmla="*/ 1096 w 1237"/>
                        <a:gd name="T11" fmla="*/ 317 h 772"/>
                        <a:gd name="T12" fmla="*/ 1116 w 1237"/>
                        <a:gd name="T13" fmla="*/ 366 h 772"/>
                        <a:gd name="T14" fmla="*/ 1134 w 1237"/>
                        <a:gd name="T15" fmla="*/ 410 h 772"/>
                        <a:gd name="T16" fmla="*/ 1151 w 1237"/>
                        <a:gd name="T17" fmla="*/ 429 h 772"/>
                        <a:gd name="T18" fmla="*/ 1194 w 1237"/>
                        <a:gd name="T19" fmla="*/ 464 h 772"/>
                        <a:gd name="T20" fmla="*/ 1229 w 1237"/>
                        <a:gd name="T21" fmla="*/ 525 h 772"/>
                        <a:gd name="T22" fmla="*/ 1237 w 1237"/>
                        <a:gd name="T23" fmla="*/ 596 h 772"/>
                        <a:gd name="T24" fmla="*/ 1224 w 1237"/>
                        <a:gd name="T25" fmla="*/ 654 h 772"/>
                        <a:gd name="T26" fmla="*/ 1186 w 1237"/>
                        <a:gd name="T27" fmla="*/ 714 h 772"/>
                        <a:gd name="T28" fmla="*/ 1133 w 1237"/>
                        <a:gd name="T29" fmla="*/ 753 h 772"/>
                        <a:gd name="T30" fmla="*/ 1051 w 1237"/>
                        <a:gd name="T31" fmla="*/ 772 h 772"/>
                        <a:gd name="T32" fmla="*/ 1086 w 1237"/>
                        <a:gd name="T33" fmla="*/ 616 h 772"/>
                        <a:gd name="T34" fmla="*/ 1077 w 1237"/>
                        <a:gd name="T35" fmla="*/ 483 h 772"/>
                        <a:gd name="T36" fmla="*/ 1056 w 1237"/>
                        <a:gd name="T37" fmla="*/ 406 h 772"/>
                        <a:gd name="T38" fmla="*/ 1023 w 1237"/>
                        <a:gd name="T39" fmla="*/ 341 h 772"/>
                        <a:gd name="T40" fmla="*/ 964 w 1237"/>
                        <a:gd name="T41" fmla="*/ 259 h 772"/>
                        <a:gd name="T42" fmla="*/ 875 w 1237"/>
                        <a:gd name="T43" fmla="*/ 178 h 772"/>
                        <a:gd name="T44" fmla="*/ 760 w 1237"/>
                        <a:gd name="T45" fmla="*/ 117 h 772"/>
                        <a:gd name="T46" fmla="*/ 618 w 1237"/>
                        <a:gd name="T47" fmla="*/ 92 h 772"/>
                        <a:gd name="T48" fmla="*/ 476 w 1237"/>
                        <a:gd name="T49" fmla="*/ 117 h 772"/>
                        <a:gd name="T50" fmla="*/ 361 w 1237"/>
                        <a:gd name="T51" fmla="*/ 178 h 772"/>
                        <a:gd name="T52" fmla="*/ 273 w 1237"/>
                        <a:gd name="T53" fmla="*/ 259 h 772"/>
                        <a:gd name="T54" fmla="*/ 213 w 1237"/>
                        <a:gd name="T55" fmla="*/ 341 h 772"/>
                        <a:gd name="T56" fmla="*/ 181 w 1237"/>
                        <a:gd name="T57" fmla="*/ 406 h 772"/>
                        <a:gd name="T58" fmla="*/ 160 w 1237"/>
                        <a:gd name="T59" fmla="*/ 483 h 772"/>
                        <a:gd name="T60" fmla="*/ 151 w 1237"/>
                        <a:gd name="T61" fmla="*/ 616 h 772"/>
                        <a:gd name="T62" fmla="*/ 187 w 1237"/>
                        <a:gd name="T63" fmla="*/ 772 h 772"/>
                        <a:gd name="T64" fmla="*/ 103 w 1237"/>
                        <a:gd name="T65" fmla="*/ 753 h 772"/>
                        <a:gd name="T66" fmla="*/ 51 w 1237"/>
                        <a:gd name="T67" fmla="*/ 714 h 772"/>
                        <a:gd name="T68" fmla="*/ 14 w 1237"/>
                        <a:gd name="T69" fmla="*/ 654 h 772"/>
                        <a:gd name="T70" fmla="*/ 0 w 1237"/>
                        <a:gd name="T71" fmla="*/ 596 h 772"/>
                        <a:gd name="T72" fmla="*/ 8 w 1237"/>
                        <a:gd name="T73" fmla="*/ 525 h 772"/>
                        <a:gd name="T74" fmla="*/ 43 w 1237"/>
                        <a:gd name="T75" fmla="*/ 464 h 772"/>
                        <a:gd name="T76" fmla="*/ 86 w 1237"/>
                        <a:gd name="T77" fmla="*/ 429 h 772"/>
                        <a:gd name="T78" fmla="*/ 103 w 1237"/>
                        <a:gd name="T79" fmla="*/ 412 h 772"/>
                        <a:gd name="T80" fmla="*/ 119 w 1237"/>
                        <a:gd name="T81" fmla="*/ 372 h 772"/>
                        <a:gd name="T82" fmla="*/ 138 w 1237"/>
                        <a:gd name="T83" fmla="*/ 327 h 772"/>
                        <a:gd name="T84" fmla="*/ 147 w 1237"/>
                        <a:gd name="T85" fmla="*/ 306 h 772"/>
                        <a:gd name="T86" fmla="*/ 228 w 1237"/>
                        <a:gd name="T87" fmla="*/ 193 h 772"/>
                        <a:gd name="T88" fmla="*/ 352 w 1237"/>
                        <a:gd name="T89" fmla="*/ 89 h 772"/>
                        <a:gd name="T90" fmla="*/ 492 w 1237"/>
                        <a:gd name="T91" fmla="*/ 18 h 772"/>
                        <a:gd name="T92" fmla="*/ 602 w 1237"/>
                        <a:gd name="T93" fmla="*/ 0 h 77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237" h="772">
                          <a:moveTo>
                            <a:pt x="617" y="0"/>
                          </a:moveTo>
                          <a:lnTo>
                            <a:pt x="618" y="0"/>
                          </a:lnTo>
                          <a:lnTo>
                            <a:pt x="620" y="0"/>
                          </a:lnTo>
                          <a:lnTo>
                            <a:pt x="623" y="0"/>
                          </a:lnTo>
                          <a:lnTo>
                            <a:pt x="635" y="0"/>
                          </a:lnTo>
                          <a:lnTo>
                            <a:pt x="640" y="0"/>
                          </a:lnTo>
                          <a:lnTo>
                            <a:pt x="693" y="6"/>
                          </a:lnTo>
                          <a:lnTo>
                            <a:pt x="746" y="18"/>
                          </a:lnTo>
                          <a:lnTo>
                            <a:pt x="794" y="36"/>
                          </a:lnTo>
                          <a:lnTo>
                            <a:pt x="841" y="60"/>
                          </a:lnTo>
                          <a:lnTo>
                            <a:pt x="886" y="89"/>
                          </a:lnTo>
                          <a:lnTo>
                            <a:pt x="929" y="120"/>
                          </a:lnTo>
                          <a:lnTo>
                            <a:pt x="968" y="152"/>
                          </a:lnTo>
                          <a:lnTo>
                            <a:pt x="1003" y="186"/>
                          </a:lnTo>
                          <a:lnTo>
                            <a:pt x="1034" y="223"/>
                          </a:lnTo>
                          <a:lnTo>
                            <a:pt x="1063" y="262"/>
                          </a:lnTo>
                          <a:lnTo>
                            <a:pt x="1090" y="306"/>
                          </a:lnTo>
                          <a:lnTo>
                            <a:pt x="1096" y="317"/>
                          </a:lnTo>
                          <a:lnTo>
                            <a:pt x="1102" y="332"/>
                          </a:lnTo>
                          <a:lnTo>
                            <a:pt x="1109" y="349"/>
                          </a:lnTo>
                          <a:lnTo>
                            <a:pt x="1116" y="366"/>
                          </a:lnTo>
                          <a:lnTo>
                            <a:pt x="1122" y="383"/>
                          </a:lnTo>
                          <a:lnTo>
                            <a:pt x="1128" y="399"/>
                          </a:lnTo>
                          <a:lnTo>
                            <a:pt x="1134" y="410"/>
                          </a:lnTo>
                          <a:lnTo>
                            <a:pt x="1136" y="419"/>
                          </a:lnTo>
                          <a:lnTo>
                            <a:pt x="1137" y="422"/>
                          </a:lnTo>
                          <a:lnTo>
                            <a:pt x="1151" y="429"/>
                          </a:lnTo>
                          <a:lnTo>
                            <a:pt x="1164" y="438"/>
                          </a:lnTo>
                          <a:lnTo>
                            <a:pt x="1179" y="449"/>
                          </a:lnTo>
                          <a:lnTo>
                            <a:pt x="1194" y="464"/>
                          </a:lnTo>
                          <a:lnTo>
                            <a:pt x="1208" y="481"/>
                          </a:lnTo>
                          <a:lnTo>
                            <a:pt x="1220" y="501"/>
                          </a:lnTo>
                          <a:lnTo>
                            <a:pt x="1229" y="525"/>
                          </a:lnTo>
                          <a:lnTo>
                            <a:pt x="1235" y="553"/>
                          </a:lnTo>
                          <a:lnTo>
                            <a:pt x="1237" y="575"/>
                          </a:lnTo>
                          <a:lnTo>
                            <a:pt x="1237" y="596"/>
                          </a:lnTo>
                          <a:lnTo>
                            <a:pt x="1235" y="615"/>
                          </a:lnTo>
                          <a:lnTo>
                            <a:pt x="1231" y="635"/>
                          </a:lnTo>
                          <a:lnTo>
                            <a:pt x="1224" y="654"/>
                          </a:lnTo>
                          <a:lnTo>
                            <a:pt x="1212" y="674"/>
                          </a:lnTo>
                          <a:lnTo>
                            <a:pt x="1199" y="697"/>
                          </a:lnTo>
                          <a:lnTo>
                            <a:pt x="1186" y="714"/>
                          </a:lnTo>
                          <a:lnTo>
                            <a:pt x="1171" y="729"/>
                          </a:lnTo>
                          <a:lnTo>
                            <a:pt x="1153" y="742"/>
                          </a:lnTo>
                          <a:lnTo>
                            <a:pt x="1133" y="753"/>
                          </a:lnTo>
                          <a:lnTo>
                            <a:pt x="1109" y="762"/>
                          </a:lnTo>
                          <a:lnTo>
                            <a:pt x="1081" y="769"/>
                          </a:lnTo>
                          <a:lnTo>
                            <a:pt x="1051" y="772"/>
                          </a:lnTo>
                          <a:lnTo>
                            <a:pt x="1069" y="720"/>
                          </a:lnTo>
                          <a:lnTo>
                            <a:pt x="1080" y="666"/>
                          </a:lnTo>
                          <a:lnTo>
                            <a:pt x="1086" y="616"/>
                          </a:lnTo>
                          <a:lnTo>
                            <a:pt x="1086" y="567"/>
                          </a:lnTo>
                          <a:lnTo>
                            <a:pt x="1083" y="523"/>
                          </a:lnTo>
                          <a:lnTo>
                            <a:pt x="1077" y="483"/>
                          </a:lnTo>
                          <a:lnTo>
                            <a:pt x="1069" y="448"/>
                          </a:lnTo>
                          <a:lnTo>
                            <a:pt x="1060" y="421"/>
                          </a:lnTo>
                          <a:lnTo>
                            <a:pt x="1056" y="406"/>
                          </a:lnTo>
                          <a:lnTo>
                            <a:pt x="1048" y="386"/>
                          </a:lnTo>
                          <a:lnTo>
                            <a:pt x="1038" y="365"/>
                          </a:lnTo>
                          <a:lnTo>
                            <a:pt x="1023" y="341"/>
                          </a:lnTo>
                          <a:lnTo>
                            <a:pt x="1006" y="315"/>
                          </a:lnTo>
                          <a:lnTo>
                            <a:pt x="987" y="287"/>
                          </a:lnTo>
                          <a:lnTo>
                            <a:pt x="964" y="259"/>
                          </a:lnTo>
                          <a:lnTo>
                            <a:pt x="938" y="232"/>
                          </a:lnTo>
                          <a:lnTo>
                            <a:pt x="908" y="204"/>
                          </a:lnTo>
                          <a:lnTo>
                            <a:pt x="875" y="178"/>
                          </a:lnTo>
                          <a:lnTo>
                            <a:pt x="840" y="155"/>
                          </a:lnTo>
                          <a:lnTo>
                            <a:pt x="802" y="134"/>
                          </a:lnTo>
                          <a:lnTo>
                            <a:pt x="760" y="117"/>
                          </a:lnTo>
                          <a:lnTo>
                            <a:pt x="716" y="103"/>
                          </a:lnTo>
                          <a:lnTo>
                            <a:pt x="669" y="95"/>
                          </a:lnTo>
                          <a:lnTo>
                            <a:pt x="618" y="92"/>
                          </a:lnTo>
                          <a:lnTo>
                            <a:pt x="568" y="95"/>
                          </a:lnTo>
                          <a:lnTo>
                            <a:pt x="521" y="103"/>
                          </a:lnTo>
                          <a:lnTo>
                            <a:pt x="476" y="117"/>
                          </a:lnTo>
                          <a:lnTo>
                            <a:pt x="435" y="134"/>
                          </a:lnTo>
                          <a:lnTo>
                            <a:pt x="396" y="155"/>
                          </a:lnTo>
                          <a:lnTo>
                            <a:pt x="361" y="178"/>
                          </a:lnTo>
                          <a:lnTo>
                            <a:pt x="329" y="204"/>
                          </a:lnTo>
                          <a:lnTo>
                            <a:pt x="299" y="232"/>
                          </a:lnTo>
                          <a:lnTo>
                            <a:pt x="273" y="259"/>
                          </a:lnTo>
                          <a:lnTo>
                            <a:pt x="250" y="287"/>
                          </a:lnTo>
                          <a:lnTo>
                            <a:pt x="230" y="315"/>
                          </a:lnTo>
                          <a:lnTo>
                            <a:pt x="213" y="341"/>
                          </a:lnTo>
                          <a:lnTo>
                            <a:pt x="199" y="365"/>
                          </a:lnTo>
                          <a:lnTo>
                            <a:pt x="189" y="386"/>
                          </a:lnTo>
                          <a:lnTo>
                            <a:pt x="181" y="406"/>
                          </a:lnTo>
                          <a:lnTo>
                            <a:pt x="176" y="421"/>
                          </a:lnTo>
                          <a:lnTo>
                            <a:pt x="168" y="448"/>
                          </a:lnTo>
                          <a:lnTo>
                            <a:pt x="160" y="483"/>
                          </a:lnTo>
                          <a:lnTo>
                            <a:pt x="154" y="523"/>
                          </a:lnTo>
                          <a:lnTo>
                            <a:pt x="150" y="567"/>
                          </a:lnTo>
                          <a:lnTo>
                            <a:pt x="151" y="616"/>
                          </a:lnTo>
                          <a:lnTo>
                            <a:pt x="157" y="666"/>
                          </a:lnTo>
                          <a:lnTo>
                            <a:pt x="168" y="720"/>
                          </a:lnTo>
                          <a:lnTo>
                            <a:pt x="187" y="772"/>
                          </a:lnTo>
                          <a:lnTo>
                            <a:pt x="156" y="769"/>
                          </a:lnTo>
                          <a:lnTo>
                            <a:pt x="129" y="762"/>
                          </a:lnTo>
                          <a:lnTo>
                            <a:pt x="103" y="753"/>
                          </a:lnTo>
                          <a:lnTo>
                            <a:pt x="84" y="742"/>
                          </a:lnTo>
                          <a:lnTo>
                            <a:pt x="66" y="729"/>
                          </a:lnTo>
                          <a:lnTo>
                            <a:pt x="51" y="714"/>
                          </a:lnTo>
                          <a:lnTo>
                            <a:pt x="39" y="697"/>
                          </a:lnTo>
                          <a:lnTo>
                            <a:pt x="24" y="674"/>
                          </a:lnTo>
                          <a:lnTo>
                            <a:pt x="14" y="654"/>
                          </a:lnTo>
                          <a:lnTo>
                            <a:pt x="7" y="635"/>
                          </a:lnTo>
                          <a:lnTo>
                            <a:pt x="1" y="615"/>
                          </a:lnTo>
                          <a:lnTo>
                            <a:pt x="0" y="596"/>
                          </a:lnTo>
                          <a:lnTo>
                            <a:pt x="0" y="575"/>
                          </a:lnTo>
                          <a:lnTo>
                            <a:pt x="2" y="553"/>
                          </a:lnTo>
                          <a:lnTo>
                            <a:pt x="8" y="525"/>
                          </a:lnTo>
                          <a:lnTo>
                            <a:pt x="17" y="501"/>
                          </a:lnTo>
                          <a:lnTo>
                            <a:pt x="29" y="481"/>
                          </a:lnTo>
                          <a:lnTo>
                            <a:pt x="43" y="464"/>
                          </a:lnTo>
                          <a:lnTo>
                            <a:pt x="58" y="449"/>
                          </a:lnTo>
                          <a:lnTo>
                            <a:pt x="73" y="438"/>
                          </a:lnTo>
                          <a:lnTo>
                            <a:pt x="86" y="429"/>
                          </a:lnTo>
                          <a:lnTo>
                            <a:pt x="99" y="422"/>
                          </a:lnTo>
                          <a:lnTo>
                            <a:pt x="100" y="419"/>
                          </a:lnTo>
                          <a:lnTo>
                            <a:pt x="103" y="412"/>
                          </a:lnTo>
                          <a:lnTo>
                            <a:pt x="108" y="401"/>
                          </a:lnTo>
                          <a:lnTo>
                            <a:pt x="114" y="386"/>
                          </a:lnTo>
                          <a:lnTo>
                            <a:pt x="119" y="372"/>
                          </a:lnTo>
                          <a:lnTo>
                            <a:pt x="126" y="356"/>
                          </a:lnTo>
                          <a:lnTo>
                            <a:pt x="132" y="341"/>
                          </a:lnTo>
                          <a:lnTo>
                            <a:pt x="138" y="327"/>
                          </a:lnTo>
                          <a:lnTo>
                            <a:pt x="142" y="316"/>
                          </a:lnTo>
                          <a:lnTo>
                            <a:pt x="146" y="308"/>
                          </a:lnTo>
                          <a:lnTo>
                            <a:pt x="147" y="306"/>
                          </a:lnTo>
                          <a:lnTo>
                            <a:pt x="168" y="268"/>
                          </a:lnTo>
                          <a:lnTo>
                            <a:pt x="195" y="231"/>
                          </a:lnTo>
                          <a:lnTo>
                            <a:pt x="228" y="193"/>
                          </a:lnTo>
                          <a:lnTo>
                            <a:pt x="265" y="157"/>
                          </a:lnTo>
                          <a:lnTo>
                            <a:pt x="306" y="121"/>
                          </a:lnTo>
                          <a:lnTo>
                            <a:pt x="352" y="89"/>
                          </a:lnTo>
                          <a:lnTo>
                            <a:pt x="395" y="60"/>
                          </a:lnTo>
                          <a:lnTo>
                            <a:pt x="443" y="36"/>
                          </a:lnTo>
                          <a:lnTo>
                            <a:pt x="492" y="18"/>
                          </a:lnTo>
                          <a:lnTo>
                            <a:pt x="543" y="6"/>
                          </a:lnTo>
                          <a:lnTo>
                            <a:pt x="596" y="0"/>
                          </a:lnTo>
                          <a:lnTo>
                            <a:pt x="602" y="0"/>
                          </a:lnTo>
                          <a:lnTo>
                            <a:pt x="613" y="0"/>
                          </a:lnTo>
                          <a:lnTo>
                            <a:pt x="617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0">
                      <a:solidFill>
                        <a:srgbClr val="FFFFFF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lIns="84406" tIns="42203" rIns="84406" bIns="42203"/>
                    <a:lstStyle>
                      <a:defPPr>
                        <a:defRPr lang="de-DE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e-DE" sz="1000" kern="0" dirty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</p:txBody>
                </p:sp>
              </p:grpSp>
              <p:sp>
                <p:nvSpPr>
                  <p:cNvPr id="27" name="Textfeld 8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556037" y="2592655"/>
                    <a:ext cx="843464" cy="30783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eaLnBrk="1" hangingPunct="1"/>
                    <a:r>
                      <a:rPr lang="de-DE" altLang="de-DE" sz="1000" dirty="0" smtClean="0"/>
                      <a:t>Kunden-</a:t>
                    </a:r>
                    <a:br>
                      <a:rPr lang="de-DE" altLang="de-DE" sz="1000" dirty="0" smtClean="0"/>
                    </a:br>
                    <a:r>
                      <a:rPr lang="de-DE" altLang="de-DE" sz="1000" dirty="0" err="1" smtClean="0"/>
                      <a:t>center</a:t>
                    </a:r>
                    <a:endParaRPr lang="de-DE" altLang="de-DE" sz="1000" dirty="0"/>
                  </a:p>
                </p:txBody>
              </p:sp>
            </p:grpSp>
            <p:sp>
              <p:nvSpPr>
                <p:cNvPr id="25" name="Textfeld 84"/>
                <p:cNvSpPr txBox="1">
                  <a:spLocks noChangeArrowheads="1"/>
                </p:cNvSpPr>
                <p:nvPr/>
              </p:nvSpPr>
              <p:spPr bwMode="auto">
                <a:xfrm>
                  <a:off x="5395012" y="2338941"/>
                  <a:ext cx="788960" cy="16930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/>
                  <a:r>
                    <a:rPr lang="de-DE" altLang="de-DE" sz="1100" dirty="0"/>
                    <a:t>VERTRIEB</a:t>
                  </a:r>
                </a:p>
              </p:txBody>
            </p:sp>
          </p:grpSp>
          <p:sp>
            <p:nvSpPr>
              <p:cNvPr id="17" name="Freeform 130"/>
              <p:cNvSpPr>
                <a:spLocks/>
              </p:cNvSpPr>
              <p:nvPr/>
            </p:nvSpPr>
            <p:spPr bwMode="auto">
              <a:xfrm>
                <a:off x="4916866" y="4677616"/>
                <a:ext cx="414337" cy="414338"/>
              </a:xfrm>
              <a:custGeom>
                <a:avLst/>
                <a:gdLst>
                  <a:gd name="T0" fmla="*/ 1806 w 3405"/>
                  <a:gd name="T1" fmla="*/ 3 h 3405"/>
                  <a:gd name="T2" fmla="*/ 2009 w 3405"/>
                  <a:gd name="T3" fmla="*/ 28 h 3405"/>
                  <a:gd name="T4" fmla="*/ 2203 w 3405"/>
                  <a:gd name="T5" fmla="*/ 74 h 3405"/>
                  <a:gd name="T6" fmla="*/ 2388 w 3405"/>
                  <a:gd name="T7" fmla="*/ 143 h 3405"/>
                  <a:gd name="T8" fmla="*/ 2562 w 3405"/>
                  <a:gd name="T9" fmla="*/ 232 h 3405"/>
                  <a:gd name="T10" fmla="*/ 2724 w 3405"/>
                  <a:gd name="T11" fmla="*/ 341 h 3405"/>
                  <a:gd name="T12" fmla="*/ 2872 w 3405"/>
                  <a:gd name="T13" fmla="*/ 465 h 3405"/>
                  <a:gd name="T14" fmla="*/ 3005 w 3405"/>
                  <a:gd name="T15" fmla="*/ 606 h 3405"/>
                  <a:gd name="T16" fmla="*/ 3121 w 3405"/>
                  <a:gd name="T17" fmla="*/ 760 h 3405"/>
                  <a:gd name="T18" fmla="*/ 3219 w 3405"/>
                  <a:gd name="T19" fmla="*/ 929 h 3405"/>
                  <a:gd name="T20" fmla="*/ 3299 w 3405"/>
                  <a:gd name="T21" fmla="*/ 1108 h 3405"/>
                  <a:gd name="T22" fmla="*/ 3357 w 3405"/>
                  <a:gd name="T23" fmla="*/ 1298 h 3405"/>
                  <a:gd name="T24" fmla="*/ 3393 w 3405"/>
                  <a:gd name="T25" fmla="*/ 1497 h 3405"/>
                  <a:gd name="T26" fmla="*/ 3405 w 3405"/>
                  <a:gd name="T27" fmla="*/ 1703 h 3405"/>
                  <a:gd name="T28" fmla="*/ 3393 w 3405"/>
                  <a:gd name="T29" fmla="*/ 1908 h 3405"/>
                  <a:gd name="T30" fmla="*/ 3357 w 3405"/>
                  <a:gd name="T31" fmla="*/ 2107 h 3405"/>
                  <a:gd name="T32" fmla="*/ 3299 w 3405"/>
                  <a:gd name="T33" fmla="*/ 2297 h 3405"/>
                  <a:gd name="T34" fmla="*/ 3219 w 3405"/>
                  <a:gd name="T35" fmla="*/ 2476 h 3405"/>
                  <a:gd name="T36" fmla="*/ 3121 w 3405"/>
                  <a:gd name="T37" fmla="*/ 2645 h 3405"/>
                  <a:gd name="T38" fmla="*/ 3005 w 3405"/>
                  <a:gd name="T39" fmla="*/ 2799 h 3405"/>
                  <a:gd name="T40" fmla="*/ 2872 w 3405"/>
                  <a:gd name="T41" fmla="*/ 2940 h 3405"/>
                  <a:gd name="T42" fmla="*/ 2724 w 3405"/>
                  <a:gd name="T43" fmla="*/ 3065 h 3405"/>
                  <a:gd name="T44" fmla="*/ 2562 w 3405"/>
                  <a:gd name="T45" fmla="*/ 3173 h 3405"/>
                  <a:gd name="T46" fmla="*/ 2388 w 3405"/>
                  <a:gd name="T47" fmla="*/ 3262 h 3405"/>
                  <a:gd name="T48" fmla="*/ 2203 w 3405"/>
                  <a:gd name="T49" fmla="*/ 3331 h 3405"/>
                  <a:gd name="T50" fmla="*/ 2009 w 3405"/>
                  <a:gd name="T51" fmla="*/ 3377 h 3405"/>
                  <a:gd name="T52" fmla="*/ 1806 w 3405"/>
                  <a:gd name="T53" fmla="*/ 3402 h 3405"/>
                  <a:gd name="T54" fmla="*/ 1598 w 3405"/>
                  <a:gd name="T55" fmla="*/ 3402 h 3405"/>
                  <a:gd name="T56" fmla="*/ 1396 w 3405"/>
                  <a:gd name="T57" fmla="*/ 3377 h 3405"/>
                  <a:gd name="T58" fmla="*/ 1202 w 3405"/>
                  <a:gd name="T59" fmla="*/ 3331 h 3405"/>
                  <a:gd name="T60" fmla="*/ 1017 w 3405"/>
                  <a:gd name="T61" fmla="*/ 3262 h 3405"/>
                  <a:gd name="T62" fmla="*/ 843 w 3405"/>
                  <a:gd name="T63" fmla="*/ 3173 h 3405"/>
                  <a:gd name="T64" fmla="*/ 681 w 3405"/>
                  <a:gd name="T65" fmla="*/ 3065 h 3405"/>
                  <a:gd name="T66" fmla="*/ 533 w 3405"/>
                  <a:gd name="T67" fmla="*/ 2940 h 3405"/>
                  <a:gd name="T68" fmla="*/ 400 w 3405"/>
                  <a:gd name="T69" fmla="*/ 2799 h 3405"/>
                  <a:gd name="T70" fmla="*/ 284 w 3405"/>
                  <a:gd name="T71" fmla="*/ 2645 h 3405"/>
                  <a:gd name="T72" fmla="*/ 186 w 3405"/>
                  <a:gd name="T73" fmla="*/ 2476 h 3405"/>
                  <a:gd name="T74" fmla="*/ 106 w 3405"/>
                  <a:gd name="T75" fmla="*/ 2297 h 3405"/>
                  <a:gd name="T76" fmla="*/ 48 w 3405"/>
                  <a:gd name="T77" fmla="*/ 2107 h 3405"/>
                  <a:gd name="T78" fmla="*/ 12 w 3405"/>
                  <a:gd name="T79" fmla="*/ 1908 h 3405"/>
                  <a:gd name="T80" fmla="*/ 0 w 3405"/>
                  <a:gd name="T81" fmla="*/ 1703 h 3405"/>
                  <a:gd name="T82" fmla="*/ 12 w 3405"/>
                  <a:gd name="T83" fmla="*/ 1497 h 3405"/>
                  <a:gd name="T84" fmla="*/ 48 w 3405"/>
                  <a:gd name="T85" fmla="*/ 1298 h 3405"/>
                  <a:gd name="T86" fmla="*/ 106 w 3405"/>
                  <a:gd name="T87" fmla="*/ 1108 h 3405"/>
                  <a:gd name="T88" fmla="*/ 186 w 3405"/>
                  <a:gd name="T89" fmla="*/ 929 h 3405"/>
                  <a:gd name="T90" fmla="*/ 284 w 3405"/>
                  <a:gd name="T91" fmla="*/ 760 h 3405"/>
                  <a:gd name="T92" fmla="*/ 400 w 3405"/>
                  <a:gd name="T93" fmla="*/ 606 h 3405"/>
                  <a:gd name="T94" fmla="*/ 533 w 3405"/>
                  <a:gd name="T95" fmla="*/ 465 h 3405"/>
                  <a:gd name="T96" fmla="*/ 681 w 3405"/>
                  <a:gd name="T97" fmla="*/ 341 h 3405"/>
                  <a:gd name="T98" fmla="*/ 843 w 3405"/>
                  <a:gd name="T99" fmla="*/ 232 h 3405"/>
                  <a:gd name="T100" fmla="*/ 1017 w 3405"/>
                  <a:gd name="T101" fmla="*/ 143 h 3405"/>
                  <a:gd name="T102" fmla="*/ 1202 w 3405"/>
                  <a:gd name="T103" fmla="*/ 74 h 3405"/>
                  <a:gd name="T104" fmla="*/ 1396 w 3405"/>
                  <a:gd name="T105" fmla="*/ 28 h 3405"/>
                  <a:gd name="T106" fmla="*/ 1598 w 3405"/>
                  <a:gd name="T107" fmla="*/ 3 h 3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05" h="3405">
                    <a:moveTo>
                      <a:pt x="1701" y="0"/>
                    </a:moveTo>
                    <a:lnTo>
                      <a:pt x="1806" y="3"/>
                    </a:lnTo>
                    <a:lnTo>
                      <a:pt x="1908" y="12"/>
                    </a:lnTo>
                    <a:lnTo>
                      <a:pt x="2009" y="28"/>
                    </a:lnTo>
                    <a:lnTo>
                      <a:pt x="2107" y="48"/>
                    </a:lnTo>
                    <a:lnTo>
                      <a:pt x="2203" y="74"/>
                    </a:lnTo>
                    <a:lnTo>
                      <a:pt x="2297" y="106"/>
                    </a:lnTo>
                    <a:lnTo>
                      <a:pt x="2388" y="143"/>
                    </a:lnTo>
                    <a:lnTo>
                      <a:pt x="2476" y="186"/>
                    </a:lnTo>
                    <a:lnTo>
                      <a:pt x="2562" y="232"/>
                    </a:lnTo>
                    <a:lnTo>
                      <a:pt x="2645" y="284"/>
                    </a:lnTo>
                    <a:lnTo>
                      <a:pt x="2724" y="341"/>
                    </a:lnTo>
                    <a:lnTo>
                      <a:pt x="2799" y="400"/>
                    </a:lnTo>
                    <a:lnTo>
                      <a:pt x="2872" y="465"/>
                    </a:lnTo>
                    <a:lnTo>
                      <a:pt x="2940" y="533"/>
                    </a:lnTo>
                    <a:lnTo>
                      <a:pt x="3005" y="606"/>
                    </a:lnTo>
                    <a:lnTo>
                      <a:pt x="3065" y="681"/>
                    </a:lnTo>
                    <a:lnTo>
                      <a:pt x="3121" y="760"/>
                    </a:lnTo>
                    <a:lnTo>
                      <a:pt x="3173" y="843"/>
                    </a:lnTo>
                    <a:lnTo>
                      <a:pt x="3219" y="929"/>
                    </a:lnTo>
                    <a:lnTo>
                      <a:pt x="3262" y="1017"/>
                    </a:lnTo>
                    <a:lnTo>
                      <a:pt x="3299" y="1108"/>
                    </a:lnTo>
                    <a:lnTo>
                      <a:pt x="3331" y="1202"/>
                    </a:lnTo>
                    <a:lnTo>
                      <a:pt x="3357" y="1298"/>
                    </a:lnTo>
                    <a:lnTo>
                      <a:pt x="3377" y="1396"/>
                    </a:lnTo>
                    <a:lnTo>
                      <a:pt x="3393" y="1497"/>
                    </a:lnTo>
                    <a:lnTo>
                      <a:pt x="3402" y="1598"/>
                    </a:lnTo>
                    <a:lnTo>
                      <a:pt x="3405" y="1703"/>
                    </a:lnTo>
                    <a:lnTo>
                      <a:pt x="3402" y="1807"/>
                    </a:lnTo>
                    <a:lnTo>
                      <a:pt x="3393" y="1908"/>
                    </a:lnTo>
                    <a:lnTo>
                      <a:pt x="3377" y="2009"/>
                    </a:lnTo>
                    <a:lnTo>
                      <a:pt x="3357" y="2107"/>
                    </a:lnTo>
                    <a:lnTo>
                      <a:pt x="3331" y="2203"/>
                    </a:lnTo>
                    <a:lnTo>
                      <a:pt x="3299" y="2297"/>
                    </a:lnTo>
                    <a:lnTo>
                      <a:pt x="3262" y="2388"/>
                    </a:lnTo>
                    <a:lnTo>
                      <a:pt x="3219" y="2476"/>
                    </a:lnTo>
                    <a:lnTo>
                      <a:pt x="3173" y="2562"/>
                    </a:lnTo>
                    <a:lnTo>
                      <a:pt x="3121" y="2645"/>
                    </a:lnTo>
                    <a:lnTo>
                      <a:pt x="3065" y="2724"/>
                    </a:lnTo>
                    <a:lnTo>
                      <a:pt x="3005" y="2799"/>
                    </a:lnTo>
                    <a:lnTo>
                      <a:pt x="2940" y="2872"/>
                    </a:lnTo>
                    <a:lnTo>
                      <a:pt x="2872" y="2940"/>
                    </a:lnTo>
                    <a:lnTo>
                      <a:pt x="2799" y="3005"/>
                    </a:lnTo>
                    <a:lnTo>
                      <a:pt x="2724" y="3065"/>
                    </a:lnTo>
                    <a:lnTo>
                      <a:pt x="2645" y="3121"/>
                    </a:lnTo>
                    <a:lnTo>
                      <a:pt x="2562" y="3173"/>
                    </a:lnTo>
                    <a:lnTo>
                      <a:pt x="2476" y="3219"/>
                    </a:lnTo>
                    <a:lnTo>
                      <a:pt x="2388" y="3262"/>
                    </a:lnTo>
                    <a:lnTo>
                      <a:pt x="2297" y="3299"/>
                    </a:lnTo>
                    <a:lnTo>
                      <a:pt x="2203" y="3331"/>
                    </a:lnTo>
                    <a:lnTo>
                      <a:pt x="2107" y="3357"/>
                    </a:lnTo>
                    <a:lnTo>
                      <a:pt x="2009" y="3377"/>
                    </a:lnTo>
                    <a:lnTo>
                      <a:pt x="1908" y="3393"/>
                    </a:lnTo>
                    <a:lnTo>
                      <a:pt x="1806" y="3402"/>
                    </a:lnTo>
                    <a:lnTo>
                      <a:pt x="1701" y="3405"/>
                    </a:lnTo>
                    <a:lnTo>
                      <a:pt x="1598" y="3402"/>
                    </a:lnTo>
                    <a:lnTo>
                      <a:pt x="1497" y="3393"/>
                    </a:lnTo>
                    <a:lnTo>
                      <a:pt x="1396" y="3377"/>
                    </a:lnTo>
                    <a:lnTo>
                      <a:pt x="1298" y="3357"/>
                    </a:lnTo>
                    <a:lnTo>
                      <a:pt x="1202" y="3331"/>
                    </a:lnTo>
                    <a:lnTo>
                      <a:pt x="1108" y="3299"/>
                    </a:lnTo>
                    <a:lnTo>
                      <a:pt x="1017" y="3262"/>
                    </a:lnTo>
                    <a:lnTo>
                      <a:pt x="929" y="3219"/>
                    </a:lnTo>
                    <a:lnTo>
                      <a:pt x="843" y="3173"/>
                    </a:lnTo>
                    <a:lnTo>
                      <a:pt x="760" y="3121"/>
                    </a:lnTo>
                    <a:lnTo>
                      <a:pt x="681" y="3065"/>
                    </a:lnTo>
                    <a:lnTo>
                      <a:pt x="606" y="3005"/>
                    </a:lnTo>
                    <a:lnTo>
                      <a:pt x="533" y="2940"/>
                    </a:lnTo>
                    <a:lnTo>
                      <a:pt x="465" y="2872"/>
                    </a:lnTo>
                    <a:lnTo>
                      <a:pt x="400" y="2799"/>
                    </a:lnTo>
                    <a:lnTo>
                      <a:pt x="341" y="2724"/>
                    </a:lnTo>
                    <a:lnTo>
                      <a:pt x="284" y="2645"/>
                    </a:lnTo>
                    <a:lnTo>
                      <a:pt x="232" y="2562"/>
                    </a:lnTo>
                    <a:lnTo>
                      <a:pt x="186" y="2476"/>
                    </a:lnTo>
                    <a:lnTo>
                      <a:pt x="143" y="2388"/>
                    </a:lnTo>
                    <a:lnTo>
                      <a:pt x="106" y="2297"/>
                    </a:lnTo>
                    <a:lnTo>
                      <a:pt x="74" y="2203"/>
                    </a:lnTo>
                    <a:lnTo>
                      <a:pt x="48" y="2107"/>
                    </a:lnTo>
                    <a:lnTo>
                      <a:pt x="28" y="2009"/>
                    </a:lnTo>
                    <a:lnTo>
                      <a:pt x="12" y="1908"/>
                    </a:lnTo>
                    <a:lnTo>
                      <a:pt x="3" y="1807"/>
                    </a:lnTo>
                    <a:lnTo>
                      <a:pt x="0" y="1703"/>
                    </a:lnTo>
                    <a:lnTo>
                      <a:pt x="3" y="1598"/>
                    </a:lnTo>
                    <a:lnTo>
                      <a:pt x="12" y="1497"/>
                    </a:lnTo>
                    <a:lnTo>
                      <a:pt x="28" y="1396"/>
                    </a:lnTo>
                    <a:lnTo>
                      <a:pt x="48" y="1298"/>
                    </a:lnTo>
                    <a:lnTo>
                      <a:pt x="74" y="1202"/>
                    </a:lnTo>
                    <a:lnTo>
                      <a:pt x="106" y="1108"/>
                    </a:lnTo>
                    <a:lnTo>
                      <a:pt x="143" y="1017"/>
                    </a:lnTo>
                    <a:lnTo>
                      <a:pt x="186" y="929"/>
                    </a:lnTo>
                    <a:lnTo>
                      <a:pt x="232" y="843"/>
                    </a:lnTo>
                    <a:lnTo>
                      <a:pt x="284" y="760"/>
                    </a:lnTo>
                    <a:lnTo>
                      <a:pt x="341" y="681"/>
                    </a:lnTo>
                    <a:lnTo>
                      <a:pt x="400" y="606"/>
                    </a:lnTo>
                    <a:lnTo>
                      <a:pt x="465" y="533"/>
                    </a:lnTo>
                    <a:lnTo>
                      <a:pt x="533" y="465"/>
                    </a:lnTo>
                    <a:lnTo>
                      <a:pt x="606" y="400"/>
                    </a:lnTo>
                    <a:lnTo>
                      <a:pt x="681" y="341"/>
                    </a:lnTo>
                    <a:lnTo>
                      <a:pt x="760" y="284"/>
                    </a:lnTo>
                    <a:lnTo>
                      <a:pt x="843" y="232"/>
                    </a:lnTo>
                    <a:lnTo>
                      <a:pt x="929" y="186"/>
                    </a:lnTo>
                    <a:lnTo>
                      <a:pt x="1017" y="143"/>
                    </a:lnTo>
                    <a:lnTo>
                      <a:pt x="1108" y="106"/>
                    </a:lnTo>
                    <a:lnTo>
                      <a:pt x="1202" y="74"/>
                    </a:lnTo>
                    <a:lnTo>
                      <a:pt x="1298" y="48"/>
                    </a:lnTo>
                    <a:lnTo>
                      <a:pt x="1396" y="28"/>
                    </a:lnTo>
                    <a:lnTo>
                      <a:pt x="1497" y="12"/>
                    </a:lnTo>
                    <a:lnTo>
                      <a:pt x="1598" y="3"/>
                    </a:lnTo>
                    <a:lnTo>
                      <a:pt x="170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lIns="84406" tIns="42203" rIns="84406" bIns="42203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000" kern="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8" name="Textfeld 93"/>
              <p:cNvSpPr txBox="1">
                <a:spLocks noChangeArrowheads="1"/>
              </p:cNvSpPr>
              <p:nvPr/>
            </p:nvSpPr>
            <p:spPr bwMode="auto">
              <a:xfrm>
                <a:off x="4586009" y="5099878"/>
                <a:ext cx="1111407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de-DE" altLang="de-DE" sz="1000" dirty="0" smtClean="0"/>
                  <a:t>Deka-Dialogshop</a:t>
                </a:r>
                <a:endParaRPr lang="de-DE" altLang="de-DE" sz="1000" dirty="0"/>
              </a:p>
            </p:txBody>
          </p:sp>
          <p:pic>
            <p:nvPicPr>
              <p:cNvPr id="19" name="Picture 117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73049" y="4711997"/>
                <a:ext cx="308700" cy="4085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20" name="Gerade Verbindung 19"/>
              <p:cNvCxnSpPr>
                <a:stCxn id="21" idx="3"/>
                <a:endCxn id="17" idx="53"/>
              </p:cNvCxnSpPr>
              <p:nvPr/>
            </p:nvCxnSpPr>
            <p:spPr bwMode="gray">
              <a:xfrm flipH="1">
                <a:off x="5111318" y="4202889"/>
                <a:ext cx="30395" cy="475092"/>
              </a:xfrm>
              <a:prstGeom prst="line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accent6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0087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3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Die Anwendungsfälle Deka-Geldanlage und Deka-Sparplan sind </a:t>
            </a:r>
            <a:r>
              <a:rPr lang="de-DE" dirty="0" smtClean="0"/>
              <a:t>in  Data Analytics entwickelt und </a:t>
            </a:r>
            <a:r>
              <a:rPr lang="de-DE" dirty="0" err="1" smtClean="0"/>
              <a:t>verprobt</a:t>
            </a:r>
            <a:r>
              <a:rPr lang="de-DE" dirty="0" smtClean="0"/>
              <a:t> und stehen </a:t>
            </a:r>
            <a:r>
              <a:rPr lang="de-DE" dirty="0"/>
              <a:t>in </a:t>
            </a:r>
            <a:r>
              <a:rPr lang="de-DE" dirty="0" err="1"/>
              <a:t>OSPlus</a:t>
            </a:r>
            <a:r>
              <a:rPr lang="de-DE" dirty="0"/>
              <a:t> </a:t>
            </a:r>
            <a:r>
              <a:rPr lang="de-DE" dirty="0" smtClean="0"/>
              <a:t>bereit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: Februar 2019</a:t>
            </a:r>
          </a:p>
          <a:p>
            <a:r>
              <a:rPr lang="de-DE" dirty="0"/>
              <a:t>OE: </a:t>
            </a:r>
            <a:r>
              <a:rPr lang="de-DE" dirty="0" smtClean="0"/>
              <a:t>51020101-10</a:t>
            </a:r>
            <a:endParaRPr lang="de-DE" dirty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3" y="1627188"/>
            <a:ext cx="9413988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llipse 7"/>
          <p:cNvSpPr/>
          <p:nvPr/>
        </p:nvSpPr>
        <p:spPr bwMode="gray">
          <a:xfrm>
            <a:off x="2928091" y="5380644"/>
            <a:ext cx="1224136" cy="396044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  <p:sp>
        <p:nvSpPr>
          <p:cNvPr id="9" name="Ellipse 8"/>
          <p:cNvSpPr/>
          <p:nvPr/>
        </p:nvSpPr>
        <p:spPr bwMode="gray">
          <a:xfrm>
            <a:off x="2928091" y="4640544"/>
            <a:ext cx="1224136" cy="196385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08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2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Ergebnistabelle aus </a:t>
            </a:r>
            <a:r>
              <a:rPr lang="de-DE" dirty="0" err="1"/>
              <a:t>OSPlus</a:t>
            </a:r>
            <a:r>
              <a:rPr lang="de-DE" dirty="0"/>
              <a:t/>
            </a:r>
            <a:br>
              <a:rPr lang="de-DE" dirty="0"/>
            </a:br>
            <a:r>
              <a:rPr lang="de-DE" b="0" dirty="0" smtClean="0"/>
              <a:t>Aktuell wird die Ergebnisstabelle zum jeweiligen AWF aus dem </a:t>
            </a:r>
            <a:r>
              <a:rPr lang="de-DE" b="0" dirty="0" err="1" smtClean="0"/>
              <a:t>OSPlus</a:t>
            </a:r>
            <a:r>
              <a:rPr lang="de-DE" b="0" dirty="0" smtClean="0"/>
              <a:t> gezogen und dann ggf. in die Kampagnensysteme importiert</a:t>
            </a:r>
            <a:endParaRPr lang="de-DE" b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 smtClean="0"/>
              <a:t>*mit Data-Analytics-Kennzahlen für </a:t>
            </a:r>
            <a:r>
              <a:rPr lang="de-DE" dirty="0"/>
              <a:t>den Vertriebsprozess (in OSPlus) </a:t>
            </a:r>
            <a:endParaRPr lang="de-DE" dirty="0" smtClean="0"/>
          </a:p>
          <a:p>
            <a:r>
              <a:rPr lang="de-DE" dirty="0" smtClean="0"/>
              <a:t>Quelle</a:t>
            </a:r>
            <a:r>
              <a:rPr lang="de-DE" dirty="0"/>
              <a:t>: Schulungsunterlage der </a:t>
            </a:r>
            <a:r>
              <a:rPr lang="de-DE" dirty="0" smtClean="0"/>
              <a:t>S-Rating</a:t>
            </a:r>
          </a:p>
          <a:p>
            <a:r>
              <a:rPr lang="de-DE" dirty="0"/>
              <a:t>Stand: </a:t>
            </a:r>
            <a:r>
              <a:rPr lang="de-DE" dirty="0" smtClean="0"/>
              <a:t>Februar 2019</a:t>
            </a:r>
            <a:endParaRPr lang="de-DE" dirty="0"/>
          </a:p>
          <a:p>
            <a:r>
              <a:rPr lang="de-DE" dirty="0"/>
              <a:t>OE: </a:t>
            </a:r>
            <a:r>
              <a:rPr lang="de-DE" dirty="0" smtClean="0"/>
              <a:t>51020101-10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-1319816" y="1627187"/>
            <a:ext cx="1259457" cy="763588"/>
          </a:xfrm>
          <a:prstGeom prst="rect">
            <a:avLst/>
          </a:prstGeom>
          <a:solidFill>
            <a:srgbClr val="CCC6C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7696" tIns="107696" rIns="107696" bIns="107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1942" eaLnBrk="0" fontAlgn="base" hangingPunct="0">
              <a:spcAft>
                <a:spcPts val="600"/>
              </a:spcAft>
            </a:pPr>
            <a:r>
              <a:rPr lang="de-DE" sz="1600" dirty="0" smtClean="0">
                <a:solidFill>
                  <a:schemeClr val="tx2"/>
                </a:solidFill>
              </a:rPr>
              <a:t>Bild nicht bearbeitbar</a:t>
            </a:r>
            <a:endParaRPr lang="de-DE" sz="1600" dirty="0">
              <a:solidFill>
                <a:schemeClr val="tx2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896"/>
          <a:stretch/>
        </p:blipFill>
        <p:spPr bwMode="auto">
          <a:xfrm>
            <a:off x="588962" y="2284624"/>
            <a:ext cx="2878843" cy="2440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248865"/>
              </p:ext>
            </p:extLst>
          </p:nvPr>
        </p:nvGraphicFramePr>
        <p:xfrm>
          <a:off x="4117785" y="2207182"/>
          <a:ext cx="6318570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8010"/>
                <a:gridCol w="1224136"/>
                <a:gridCol w="864096"/>
                <a:gridCol w="655021"/>
                <a:gridCol w="1324600"/>
                <a:gridCol w="97270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Techn.</a:t>
                      </a:r>
                      <a:r>
                        <a:rPr lang="de-DE" sz="1100" baseline="0" dirty="0" smtClean="0">
                          <a:solidFill>
                            <a:schemeClr val="tx2"/>
                          </a:solidFill>
                        </a:rPr>
                        <a:t> Personennummer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 smtClean="0">
                          <a:solidFill>
                            <a:schemeClr val="tx2"/>
                          </a:solidFill>
                        </a:rPr>
                        <a:t>Vdz</a:t>
                      </a: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-Zielgruppe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Vorlage EWE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Rang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Fachliche Personennummer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Depot vorhande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125458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Filialaffine</a:t>
                      </a:r>
                      <a:br>
                        <a:rPr lang="de-DE" sz="11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un. Erwachsene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12749216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12445480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Filialaffine</a:t>
                      </a:r>
                      <a:br>
                        <a:rPr lang="de-DE" sz="11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Vermögenskunde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 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12839251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Nei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4540484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Multikanalaffine</a:t>
                      </a:r>
                      <a:br>
                        <a:rPr lang="de-DE" sz="11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PB-Kunde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8160372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4454045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Filialaffine</a:t>
                      </a:r>
                      <a:br>
                        <a:rPr lang="de-DE" sz="11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Ü30-Kunde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Nein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25150463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54504504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1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Multikanalaffine</a:t>
                      </a:r>
                      <a:br>
                        <a:rPr lang="de-DE" sz="11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PB-Kund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49303123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Ja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solidFill>
                            <a:schemeClr val="tx2"/>
                          </a:solidFill>
                        </a:rPr>
                        <a:t>…</a:t>
                      </a:r>
                      <a:endParaRPr lang="de-DE" sz="11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Gleich 17"/>
          <p:cNvSpPr/>
          <p:nvPr/>
        </p:nvSpPr>
        <p:spPr bwMode="gray">
          <a:xfrm>
            <a:off x="3505299" y="3274462"/>
            <a:ext cx="553586" cy="461321"/>
          </a:xfrm>
          <a:prstGeom prst="mathEqual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  <p:sp>
        <p:nvSpPr>
          <p:cNvPr id="21" name="Rechteck 20"/>
          <p:cNvSpPr/>
          <p:nvPr/>
        </p:nvSpPr>
        <p:spPr bwMode="gray">
          <a:xfrm>
            <a:off x="8384344" y="5085184"/>
            <a:ext cx="3131341" cy="54000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r>
              <a:rPr lang="de-DE" sz="1400" b="1" dirty="0" smtClean="0">
                <a:solidFill>
                  <a:schemeClr val="tx2"/>
                </a:solidFill>
              </a:rPr>
              <a:t>Wird nur ausgegeben bei </a:t>
            </a:r>
            <a:br>
              <a:rPr lang="de-DE" sz="1400" b="1" dirty="0" smtClean="0">
                <a:solidFill>
                  <a:schemeClr val="tx2"/>
                </a:solidFill>
              </a:rPr>
            </a:br>
            <a:r>
              <a:rPr lang="de-DE" sz="1400" b="1" dirty="0" smtClean="0">
                <a:solidFill>
                  <a:schemeClr val="tx2"/>
                </a:solidFill>
              </a:rPr>
              <a:t>Deka-AWF Geld- und Sparanlage</a:t>
            </a:r>
          </a:p>
        </p:txBody>
      </p:sp>
      <p:sp>
        <p:nvSpPr>
          <p:cNvPr id="25" name="Gleichschenkliges Dreieck 24"/>
          <p:cNvSpPr/>
          <p:nvPr/>
        </p:nvSpPr>
        <p:spPr bwMode="gray">
          <a:xfrm rot="10800000">
            <a:off x="9553971" y="4869160"/>
            <a:ext cx="792088" cy="144016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10884625" y="2468769"/>
            <a:ext cx="720000" cy="2072706"/>
            <a:chOff x="11354251" y="2634406"/>
            <a:chExt cx="720000" cy="2072706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8152" y="2634406"/>
              <a:ext cx="552199" cy="619524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4251" y="3306629"/>
              <a:ext cx="720000" cy="807784"/>
            </a:xfrm>
            <a:prstGeom prst="rect">
              <a:avLst/>
            </a:prstGeom>
          </p:spPr>
        </p:pic>
        <p:pic>
          <p:nvPicPr>
            <p:cNvPr id="28" name="tk_125" descr="\\DKDENSX09\E070601$\Desktop\S_Z000_RT_RGB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06656" y="4167112"/>
              <a:ext cx="415190" cy="5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Gleichschenkliges Dreieck 28"/>
          <p:cNvSpPr/>
          <p:nvPr/>
        </p:nvSpPr>
        <p:spPr bwMode="gray">
          <a:xfrm rot="5400000">
            <a:off x="9434096" y="3375650"/>
            <a:ext cx="2499256" cy="258945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ts val="600"/>
              </a:spcAft>
            </a:pPr>
            <a:endParaRPr lang="de-DE" sz="1400" dirty="0" err="1" smtClean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948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2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>
              <a:buClr>
                <a:srgbClr val="000000"/>
              </a:buClr>
              <a:buSzPct val="100000"/>
            </a:pPr>
            <a:r>
              <a:rPr lang="de-DE" dirty="0" smtClean="0">
                <a:solidFill>
                  <a:srgbClr val="003745"/>
                </a:solidFill>
                <a:latin typeface="Arial"/>
              </a:rPr>
              <a:t>Kundenauswahl optimieren und Kampagnenerfolg erhöhen</a:t>
            </a:r>
            <a:r>
              <a:rPr lang="de-DE" dirty="0">
                <a:solidFill>
                  <a:srgbClr val="003745"/>
                </a:solidFill>
                <a:latin typeface="Arial"/>
              </a:rPr>
              <a:t/>
            </a:r>
            <a:br>
              <a:rPr lang="de-DE" dirty="0">
                <a:solidFill>
                  <a:srgbClr val="003745"/>
                </a:solidFill>
                <a:latin typeface="Arial"/>
              </a:rPr>
            </a:br>
            <a:r>
              <a:rPr lang="de-DE" b="0" dirty="0">
                <a:solidFill>
                  <a:srgbClr val="003745"/>
                </a:solidFill>
                <a:latin typeface="Arial"/>
              </a:rPr>
              <a:t>Neu: Selektion der affinen Sparkassenkunden per Data Analytics</a:t>
            </a:r>
            <a:r>
              <a:rPr lang="de-DE" b="0" dirty="0" smtClean="0">
                <a:solidFill>
                  <a:srgbClr val="003745"/>
                </a:solidFill>
                <a:latin typeface="Arial"/>
              </a:rPr>
              <a:t>*</a:t>
            </a:r>
            <a:endParaRPr lang="de-DE" b="0" dirty="0">
              <a:solidFill>
                <a:srgbClr val="003745"/>
              </a:solidFill>
              <a:latin typeface="Arial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/>
              <a:t>*in </a:t>
            </a:r>
            <a:r>
              <a:rPr lang="de-DE" dirty="0" err="1" smtClean="0"/>
              <a:t>OSPlus</a:t>
            </a:r>
            <a:endParaRPr lang="de-DE" dirty="0" smtClean="0"/>
          </a:p>
          <a:p>
            <a:r>
              <a:rPr lang="de-DE" dirty="0"/>
              <a:t>Stand: </a:t>
            </a:r>
            <a:r>
              <a:rPr lang="de-DE" dirty="0" smtClean="0"/>
              <a:t>Februar 2019</a:t>
            </a:r>
            <a:endParaRPr lang="de-DE" dirty="0"/>
          </a:p>
          <a:p>
            <a:r>
              <a:rPr lang="de-DE" dirty="0"/>
              <a:t>OE: </a:t>
            </a:r>
            <a:r>
              <a:rPr lang="de-DE" dirty="0" smtClean="0"/>
              <a:t>51020101-10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endParaRPr lang="de-DE" dirty="0"/>
          </a:p>
        </p:txBody>
      </p:sp>
      <p:grpSp>
        <p:nvGrpSpPr>
          <p:cNvPr id="8" name="Gruppieren 7"/>
          <p:cNvGrpSpPr/>
          <p:nvPr/>
        </p:nvGrpSpPr>
        <p:grpSpPr bwMode="gray">
          <a:xfrm>
            <a:off x="588963" y="2083181"/>
            <a:ext cx="2520000" cy="330654"/>
            <a:chOff x="588963" y="1625981"/>
            <a:chExt cx="5328000" cy="330654"/>
          </a:xfrm>
        </p:grpSpPr>
        <p:sp>
          <p:nvSpPr>
            <p:cNvPr id="9" name="Textplatzhalter 2"/>
            <p:cNvSpPr txBox="1">
              <a:spLocks/>
            </p:cNvSpPr>
            <p:nvPr/>
          </p:nvSpPr>
          <p:spPr bwMode="gray">
            <a:xfrm>
              <a:off x="588963" y="1625981"/>
              <a:ext cx="5327650" cy="24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lang="de-DE" sz="1600" b="1" dirty="0" smtClean="0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r>
                <a:rPr lang="de-DE" kern="0" dirty="0"/>
                <a:t>Affine Sparkassenkunden auf Basis </a:t>
              </a:r>
              <a:r>
                <a:rPr lang="de-DE" kern="0" dirty="0" err="1"/>
                <a:t>DataAnalytics</a:t>
              </a:r>
              <a:endParaRPr lang="de-DE" kern="0" dirty="0"/>
            </a:p>
          </p:txBody>
        </p:sp>
        <p:cxnSp>
          <p:nvCxnSpPr>
            <p:cNvPr id="10" name="Gerade Verbindung 9"/>
            <p:cNvCxnSpPr/>
            <p:nvPr/>
          </p:nvCxnSpPr>
          <p:spPr bwMode="gray">
            <a:xfrm>
              <a:off x="588963" y="1956635"/>
              <a:ext cx="5328000" cy="0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1" name="Gruppieren 10"/>
          <p:cNvGrpSpPr/>
          <p:nvPr/>
        </p:nvGrpSpPr>
        <p:grpSpPr bwMode="gray">
          <a:xfrm>
            <a:off x="3420850" y="2083181"/>
            <a:ext cx="2520000" cy="330654"/>
            <a:chOff x="588963" y="1625981"/>
            <a:chExt cx="5328000" cy="330654"/>
          </a:xfrm>
        </p:grpSpPr>
        <p:sp>
          <p:nvSpPr>
            <p:cNvPr id="12" name="Textplatzhalter 2"/>
            <p:cNvSpPr txBox="1">
              <a:spLocks/>
            </p:cNvSpPr>
            <p:nvPr/>
          </p:nvSpPr>
          <p:spPr bwMode="gray">
            <a:xfrm>
              <a:off x="588963" y="1625981"/>
              <a:ext cx="5327650" cy="24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lang="de-DE" sz="1600" b="1" dirty="0" smtClean="0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r>
                <a:rPr lang="de-DE" kern="0" dirty="0"/>
                <a:t>Kunden ggf. Themen bzw. Anschreiben zuordnen</a:t>
              </a:r>
            </a:p>
          </p:txBody>
        </p:sp>
        <p:cxnSp>
          <p:nvCxnSpPr>
            <p:cNvPr id="13" name="Gerade Verbindung 12"/>
            <p:cNvCxnSpPr/>
            <p:nvPr/>
          </p:nvCxnSpPr>
          <p:spPr bwMode="gray">
            <a:xfrm>
              <a:off x="588963" y="1956635"/>
              <a:ext cx="5328000" cy="0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" name="Gruppieren 13"/>
          <p:cNvGrpSpPr/>
          <p:nvPr/>
        </p:nvGrpSpPr>
        <p:grpSpPr bwMode="gray">
          <a:xfrm>
            <a:off x="6252737" y="2083181"/>
            <a:ext cx="2520000" cy="330654"/>
            <a:chOff x="588963" y="1625981"/>
            <a:chExt cx="5328000" cy="330654"/>
          </a:xfrm>
        </p:grpSpPr>
        <p:sp>
          <p:nvSpPr>
            <p:cNvPr id="15" name="Textplatzhalter 2"/>
            <p:cNvSpPr txBox="1">
              <a:spLocks/>
            </p:cNvSpPr>
            <p:nvPr/>
          </p:nvSpPr>
          <p:spPr bwMode="gray">
            <a:xfrm>
              <a:off x="588963" y="1625981"/>
              <a:ext cx="5327650" cy="24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lang="de-DE" sz="1600" b="1" dirty="0" smtClean="0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r>
                <a:rPr lang="de-DE" kern="0" dirty="0"/>
                <a:t>Auswahl </a:t>
              </a:r>
              <a:r>
                <a:rPr lang="de-DE" kern="0" dirty="0" smtClean="0"/>
                <a:t>Versandtermine,</a:t>
              </a:r>
              <a:br>
                <a:rPr lang="de-DE" kern="0" dirty="0" smtClean="0"/>
              </a:br>
              <a:r>
                <a:rPr lang="de-DE" kern="0" dirty="0" smtClean="0"/>
                <a:t>Anmeldung und hoch-laden </a:t>
              </a:r>
              <a:r>
                <a:rPr lang="de-DE" kern="0" dirty="0"/>
                <a:t>von Kundendaten</a:t>
              </a:r>
            </a:p>
          </p:txBody>
        </p:sp>
        <p:cxnSp>
          <p:nvCxnSpPr>
            <p:cNvPr id="16" name="Gerade Verbindung 15"/>
            <p:cNvCxnSpPr/>
            <p:nvPr/>
          </p:nvCxnSpPr>
          <p:spPr bwMode="gray">
            <a:xfrm>
              <a:off x="588963" y="1956635"/>
              <a:ext cx="5328000" cy="0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8" name="Gruppieren 17"/>
          <p:cNvGrpSpPr/>
          <p:nvPr/>
        </p:nvGrpSpPr>
        <p:grpSpPr bwMode="gray">
          <a:xfrm>
            <a:off x="9084625" y="2083181"/>
            <a:ext cx="2520000" cy="330654"/>
            <a:chOff x="588963" y="1625981"/>
            <a:chExt cx="5328000" cy="330654"/>
          </a:xfrm>
        </p:grpSpPr>
        <p:sp>
          <p:nvSpPr>
            <p:cNvPr id="19" name="Textplatzhalter 2"/>
            <p:cNvSpPr txBox="1">
              <a:spLocks/>
            </p:cNvSpPr>
            <p:nvPr/>
          </p:nvSpPr>
          <p:spPr bwMode="gray">
            <a:xfrm>
              <a:off x="588963" y="1625981"/>
              <a:ext cx="5327650" cy="24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12A22"/>
                </a:buClr>
                <a:buFont typeface="Arial" pitchFamily="34" charset="0"/>
                <a:defRPr lang="de-DE" sz="1600" b="1" dirty="0" smtClean="0">
                  <a:solidFill>
                    <a:schemeClr val="tx2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5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2pPr>
              <a:lvl3pPr marL="179388" indent="-17938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3pPr>
              <a:lvl4pPr marL="36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9D958D"/>
                </a:buClr>
                <a:buSzPct val="150000"/>
                <a:buFont typeface="Arial" panose="020B0604020202020204" pitchFamily="34" charset="0"/>
                <a:buChar char="▪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4pPr>
              <a:lvl5pPr marL="540000" indent="-180000"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5pPr>
              <a:lvl6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6pPr>
              <a:lvl7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7pPr>
              <a:lvl8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8pPr>
              <a:lvl9pPr marL="180000" indent="-180000" algn="l" rtl="0" eaLnBrk="1" fontAlgn="base" hangingPunct="1">
                <a:spcBef>
                  <a:spcPct val="0"/>
                </a:spcBef>
                <a:spcAft>
                  <a:spcPts val="600"/>
                </a:spcAft>
                <a:buClr>
                  <a:srgbClr val="FF0000"/>
                </a:buClr>
                <a:buSzPct val="70000"/>
                <a:buFont typeface="Arial" panose="020B0604020202020204" pitchFamily="34" charset="0"/>
                <a:buChar char="►"/>
                <a:defRPr sz="1400">
                  <a:solidFill>
                    <a:schemeClr val="tx2"/>
                  </a:solidFill>
                  <a:latin typeface="+mn-lt"/>
                </a:defRPr>
              </a:lvl9pPr>
            </a:lstStyle>
            <a:p>
              <a:r>
                <a:rPr lang="de-DE" kern="0" dirty="0"/>
                <a:t>(telefonischer) </a:t>
              </a:r>
              <a:r>
                <a:rPr lang="de-DE" kern="0" dirty="0" err="1"/>
                <a:t>Nachfass</a:t>
              </a:r>
              <a:endParaRPr lang="de-DE" kern="0" dirty="0"/>
            </a:p>
          </p:txBody>
        </p:sp>
        <p:cxnSp>
          <p:nvCxnSpPr>
            <p:cNvPr id="20" name="Gerade Verbindung 19"/>
            <p:cNvCxnSpPr/>
            <p:nvPr/>
          </p:nvCxnSpPr>
          <p:spPr bwMode="gray">
            <a:xfrm>
              <a:off x="588963" y="1956635"/>
              <a:ext cx="5328000" cy="0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9084625" y="2520250"/>
            <a:ext cx="2520000" cy="756000"/>
          </a:xfrm>
          <a:prstGeom prst="rect">
            <a:avLst/>
          </a:prstGeom>
          <a:solidFill>
            <a:schemeClr val="accent5"/>
          </a:solidFill>
          <a:ln w="3175">
            <a:noFill/>
          </a:ln>
          <a:effectLst/>
          <a:extLst/>
        </p:spPr>
        <p:txBody>
          <a:bodyPr lIns="108000" tIns="72000" rIns="108000" bIns="72000" anchor="ctr"/>
          <a:lstStyle/>
          <a:p>
            <a:pPr defTabSz="911425">
              <a:spcBef>
                <a:spcPct val="0"/>
              </a:spcBef>
            </a:pPr>
            <a:r>
              <a:rPr lang="de-DE" sz="1400" dirty="0">
                <a:solidFill>
                  <a:srgbClr val="003745"/>
                </a:solidFill>
              </a:rPr>
              <a:t>Berater</a:t>
            </a:r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gray">
          <a:xfrm>
            <a:off x="6253708" y="2520250"/>
            <a:ext cx="2520000" cy="756000"/>
          </a:xfrm>
          <a:prstGeom prst="rect">
            <a:avLst/>
          </a:prstGeom>
          <a:solidFill>
            <a:schemeClr val="accent5"/>
          </a:solidFill>
          <a:ln w="3175">
            <a:noFill/>
          </a:ln>
          <a:effectLst/>
          <a:extLst/>
        </p:spPr>
        <p:txBody>
          <a:bodyPr lIns="108000" tIns="72000" rIns="108000" bIns="72000" anchor="ctr"/>
          <a:lstStyle/>
          <a:p>
            <a:pPr defTabSz="682623"/>
            <a:r>
              <a:rPr lang="de-DE" sz="1400" kern="0" dirty="0">
                <a:solidFill>
                  <a:srgbClr val="003745"/>
                </a:solidFill>
                <a:cs typeface="Arial" pitchFamily="34" charset="0"/>
              </a:rPr>
              <a:t>Deka-Dialogshop</a:t>
            </a:r>
          </a:p>
        </p:txBody>
      </p:sp>
      <p:sp>
        <p:nvSpPr>
          <p:cNvPr id="27" name="Rectangle 15"/>
          <p:cNvSpPr>
            <a:spLocks noChangeArrowheads="1"/>
          </p:cNvSpPr>
          <p:nvPr/>
        </p:nvSpPr>
        <p:spPr bwMode="gray">
          <a:xfrm>
            <a:off x="3425320" y="2520250"/>
            <a:ext cx="2520000" cy="756000"/>
          </a:xfrm>
          <a:prstGeom prst="rect">
            <a:avLst/>
          </a:prstGeom>
          <a:solidFill>
            <a:schemeClr val="accent5"/>
          </a:solidFill>
          <a:ln w="3175">
            <a:noFill/>
          </a:ln>
          <a:effectLst/>
          <a:extLst/>
        </p:spPr>
        <p:txBody>
          <a:bodyPr lIns="108000" tIns="72000" rIns="108000" bIns="72000" anchor="ctr"/>
          <a:lstStyle/>
          <a:p>
            <a:pPr defTabSz="682623" eaLnBrk="0" fontAlgn="base" hangingPunct="0">
              <a:spcAft>
                <a:spcPts val="449"/>
              </a:spcAft>
            </a:pPr>
            <a:r>
              <a:rPr lang="de-DE" sz="1400" dirty="0">
                <a:solidFill>
                  <a:srgbClr val="003745"/>
                </a:solidFill>
              </a:rPr>
              <a:t>Feinselektion z.B. je nach </a:t>
            </a:r>
            <a:r>
              <a:rPr lang="de-DE" sz="1400" dirty="0" err="1">
                <a:solidFill>
                  <a:srgbClr val="003745"/>
                </a:solidFill>
              </a:rPr>
              <a:t>Ansprachethema</a:t>
            </a:r>
            <a:endParaRPr lang="de-DE" sz="1400" dirty="0">
              <a:solidFill>
                <a:srgbClr val="003745"/>
              </a:solidFill>
            </a:endParaRPr>
          </a:p>
        </p:txBody>
      </p:sp>
      <p:sp>
        <p:nvSpPr>
          <p:cNvPr id="28" name="Rectangle 15"/>
          <p:cNvSpPr>
            <a:spLocks noChangeArrowheads="1"/>
          </p:cNvSpPr>
          <p:nvPr/>
        </p:nvSpPr>
        <p:spPr bwMode="gray">
          <a:xfrm>
            <a:off x="588963" y="2520250"/>
            <a:ext cx="2520000" cy="756000"/>
          </a:xfrm>
          <a:prstGeom prst="rect">
            <a:avLst/>
          </a:prstGeom>
          <a:solidFill>
            <a:schemeClr val="accent5"/>
          </a:solidFill>
          <a:ln w="3175">
            <a:noFill/>
          </a:ln>
          <a:effectLst/>
          <a:extLst/>
        </p:spPr>
        <p:txBody>
          <a:bodyPr lIns="108000" tIns="72000" rIns="108000" bIns="72000" anchor="ctr"/>
          <a:lstStyle/>
          <a:p>
            <a:pPr defTabSz="682623" eaLnBrk="0" fontAlgn="base" hangingPunct="0">
              <a:spcAft>
                <a:spcPts val="449"/>
              </a:spcAft>
            </a:pPr>
            <a:r>
              <a:rPr lang="de-DE" sz="1400" dirty="0">
                <a:solidFill>
                  <a:srgbClr val="003745"/>
                </a:solidFill>
              </a:rPr>
              <a:t>Wertpapier-Neu-Kunden-auswahl per Data </a:t>
            </a:r>
            <a:r>
              <a:rPr lang="de-DE" sz="1400" dirty="0" err="1">
                <a:solidFill>
                  <a:srgbClr val="003745"/>
                </a:solidFill>
              </a:rPr>
              <a:t>Analytics</a:t>
            </a:r>
            <a:r>
              <a:rPr lang="de-DE" sz="1400" dirty="0">
                <a:solidFill>
                  <a:srgbClr val="003745"/>
                </a:solidFill>
              </a:rPr>
              <a:t/>
            </a:r>
            <a:br>
              <a:rPr lang="de-DE" sz="1400" dirty="0">
                <a:solidFill>
                  <a:srgbClr val="003745"/>
                </a:solidFill>
              </a:rPr>
            </a:br>
            <a:r>
              <a:rPr lang="de-DE" sz="1400" dirty="0">
                <a:solidFill>
                  <a:srgbClr val="003745"/>
                </a:solidFill>
              </a:rPr>
              <a:t>in OS-Plus</a:t>
            </a:r>
          </a:p>
        </p:txBody>
      </p:sp>
      <p:sp>
        <p:nvSpPr>
          <p:cNvPr id="29" name="Gleichschenkliges Dreieck 28"/>
          <p:cNvSpPr/>
          <p:nvPr/>
        </p:nvSpPr>
        <p:spPr bwMode="gray">
          <a:xfrm rot="5400000">
            <a:off x="3015866" y="2821086"/>
            <a:ext cx="510519" cy="15432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7632" tIns="107632" rIns="107632" bIns="107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1425" eaLnBrk="0" fontAlgn="base" hangingPunct="0">
              <a:spcAft>
                <a:spcPts val="600"/>
              </a:spcAft>
            </a:pPr>
            <a:endParaRPr lang="de-DE" sz="1300" dirty="0" err="1">
              <a:solidFill>
                <a:srgbClr val="003745"/>
              </a:solidFill>
            </a:endParaRPr>
          </a:p>
        </p:txBody>
      </p:sp>
      <p:sp>
        <p:nvSpPr>
          <p:cNvPr id="30" name="Gleichschenkliges Dreieck 29"/>
          <p:cNvSpPr/>
          <p:nvPr/>
        </p:nvSpPr>
        <p:spPr bwMode="gray">
          <a:xfrm rot="5400000">
            <a:off x="5844254" y="2821086"/>
            <a:ext cx="510519" cy="15432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7632" tIns="107632" rIns="107632" bIns="107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1425" eaLnBrk="0" fontAlgn="base" hangingPunct="0">
              <a:spcAft>
                <a:spcPts val="600"/>
              </a:spcAft>
            </a:pPr>
            <a:endParaRPr lang="de-DE" sz="1300" dirty="0" err="1">
              <a:solidFill>
                <a:srgbClr val="003745"/>
              </a:solidFill>
            </a:endParaRPr>
          </a:p>
        </p:txBody>
      </p:sp>
      <p:sp>
        <p:nvSpPr>
          <p:cNvPr id="31" name="Gleichschenkliges Dreieck 30"/>
          <p:cNvSpPr/>
          <p:nvPr/>
        </p:nvSpPr>
        <p:spPr bwMode="gray">
          <a:xfrm rot="5400000">
            <a:off x="8672642" y="2821086"/>
            <a:ext cx="510519" cy="154328"/>
          </a:xfrm>
          <a:prstGeom prst="triangle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107632" tIns="107632" rIns="107632" bIns="107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1425" eaLnBrk="0" fontAlgn="base" hangingPunct="0">
              <a:spcAft>
                <a:spcPts val="600"/>
              </a:spcAft>
            </a:pPr>
            <a:endParaRPr lang="de-DE" sz="1300" dirty="0" err="1">
              <a:solidFill>
                <a:srgbClr val="003745"/>
              </a:solidFill>
            </a:endParaRPr>
          </a:p>
        </p:txBody>
      </p:sp>
      <p:pic>
        <p:nvPicPr>
          <p:cNvPr id="34" name="Picture 2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1400251">
            <a:off x="593516" y="3395242"/>
            <a:ext cx="1547766" cy="886031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60296">
            <a:off x="3425320" y="3613615"/>
            <a:ext cx="1009791" cy="1009791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1205349">
            <a:off x="4105425" y="4621164"/>
            <a:ext cx="1782344" cy="1011600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1396593">
            <a:off x="9082096" y="4522412"/>
            <a:ext cx="2520000" cy="142595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" name="Picture 2"/>
          <p:cNvPicPr>
            <a:picLocks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1207067">
            <a:off x="6253708" y="3613615"/>
            <a:ext cx="2520000" cy="1421338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186246">
            <a:off x="6253708" y="5245359"/>
            <a:ext cx="2520000" cy="70300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tk_125" descr="\\DKDENSX09\E070601$\Desktop\S_Z000_RT_RGB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4684" y="3474548"/>
            <a:ext cx="585137" cy="76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2" name="Picture 22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3" y="5076554"/>
            <a:ext cx="2223089" cy="87180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3" name="Picture 22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994" y="3939290"/>
            <a:ext cx="1597413" cy="101971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chemeClr val="accent6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413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c_53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dirty="0"/>
              <a:t>Die Ausführung der Anwendungsfälle erfolgt im </a:t>
            </a:r>
            <a:r>
              <a:rPr lang="de-DE" dirty="0" err="1"/>
              <a:t>OSPlus</a:t>
            </a:r>
            <a:r>
              <a:rPr lang="de-DE" dirty="0"/>
              <a:t>-Portal </a:t>
            </a:r>
            <a:r>
              <a:rPr lang="de-DE" dirty="0" smtClean="0"/>
              <a:t>unter der Portalmaske </a:t>
            </a:r>
            <a:r>
              <a:rPr lang="de-DE" dirty="0"/>
              <a:t>„</a:t>
            </a:r>
            <a:r>
              <a:rPr lang="de-DE" dirty="0" err="1"/>
              <a:t>OSPlus</a:t>
            </a:r>
            <a:r>
              <a:rPr lang="de-DE" dirty="0"/>
              <a:t>-Vertrieb/Data Analytics“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: Februar 2019</a:t>
            </a:r>
          </a:p>
          <a:p>
            <a:r>
              <a:rPr lang="de-DE" dirty="0"/>
              <a:t>OE: </a:t>
            </a:r>
            <a:r>
              <a:rPr lang="de-DE" dirty="0" smtClean="0"/>
              <a:t>51020101-10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3" y="1627188"/>
            <a:ext cx="8071629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010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UAGE" val="germ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21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2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32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21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21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32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_q4GPkT8yeGXWX5BGu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c_532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© Deka">
  <a:themeElements>
    <a:clrScheme name="© Deka Investments">
      <a:dk1>
        <a:srgbClr val="000000"/>
      </a:dk1>
      <a:lt1>
        <a:srgbClr val="FFFFFF"/>
      </a:lt1>
      <a:dk2>
        <a:srgbClr val="003745"/>
      </a:dk2>
      <a:lt2>
        <a:srgbClr val="DAD2BA"/>
      </a:lt2>
      <a:accent1>
        <a:srgbClr val="436A74"/>
      </a:accent1>
      <a:accent2>
        <a:srgbClr val="92A736"/>
      </a:accent2>
      <a:accent3>
        <a:srgbClr val="829CA4"/>
      </a:accent3>
      <a:accent4>
        <a:srgbClr val="BFCCCF"/>
      </a:accent4>
      <a:accent5>
        <a:srgbClr val="E5EAEA"/>
      </a:accent5>
      <a:accent6>
        <a:srgbClr val="685D57"/>
      </a:accent6>
      <a:hlink>
        <a:srgbClr val="436A74"/>
      </a:hlink>
      <a:folHlink>
        <a:srgbClr val="829CA4"/>
      </a:folHlink>
    </a:clrScheme>
    <a:fontScheme name="© Deka Investme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C6C0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eaLnBrk="0" fontAlgn="base" hangingPunct="0">
          <a:spcAft>
            <a:spcPts val="600"/>
          </a:spcAft>
          <a:defRPr sz="1400" dirty="0" err="1" smtClean="0">
            <a:solidFill>
              <a:schemeClr val="tx2"/>
            </a:solidFill>
          </a:defRPr>
        </a:defPPr>
      </a:lstStyle>
    </a:spDef>
    <a:lnDef>
      <a:spPr bwMode="gray">
        <a:solidFill>
          <a:schemeClr val="bg1"/>
        </a:solidFill>
        <a:ln w="317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tx2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rüffelgrau">
      <a:srgbClr val="685D57"/>
    </a:custClr>
    <a:custClr name="Trüffelgrau 60%">
      <a:srgbClr val="9D958D"/>
    </a:custClr>
    <a:custClr name="Trüffelgrau 30%">
      <a:srgbClr val="CCC6C0"/>
    </a:custClr>
    <a:custClr name="Champagner">
      <a:srgbClr val="DAD2BA"/>
    </a:custClr>
    <a:custClr name="Champagner Dunkel">
      <a:srgbClr val="B6AD8A"/>
    </a:custClr>
    <a:custClr name="Rot">
      <a:srgbClr val="FF0000"/>
    </a:custClr>
    <a:custClr name="Amethyst">
      <a:srgbClr val="78629C"/>
    </a:custClr>
    <a:custClr name="Orange">
      <a:srgbClr val="ED9F2E"/>
    </a:custClr>
  </a:custClrLst>
</a:theme>
</file>

<file path=ppt/theme/theme2.xml><?xml version="1.0" encoding="utf-8"?>
<a:theme xmlns:a="http://schemas.openxmlformats.org/drawingml/2006/main" name="Larissa">
  <a:themeElements>
    <a:clrScheme name="Deka Investments">
      <a:dk1>
        <a:srgbClr val="000000"/>
      </a:dk1>
      <a:lt1>
        <a:srgbClr val="FFFFFF"/>
      </a:lt1>
      <a:dk2>
        <a:srgbClr val="003745"/>
      </a:dk2>
      <a:lt2>
        <a:srgbClr val="DAD2BA"/>
      </a:lt2>
      <a:accent1>
        <a:srgbClr val="436A74"/>
      </a:accent1>
      <a:accent2>
        <a:srgbClr val="92A736"/>
      </a:accent2>
      <a:accent3>
        <a:srgbClr val="829CA4"/>
      </a:accent3>
      <a:accent4>
        <a:srgbClr val="BFCCCF"/>
      </a:accent4>
      <a:accent5>
        <a:srgbClr val="E5EAEA"/>
      </a:accent5>
      <a:accent6>
        <a:srgbClr val="685D57"/>
      </a:accent6>
      <a:hlink>
        <a:srgbClr val="436A74"/>
      </a:hlink>
      <a:folHlink>
        <a:srgbClr val="829CA4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1</Words>
  <Application>Microsoft Office PowerPoint</Application>
  <PresentationFormat>Benutzerdefiniert</PresentationFormat>
  <Paragraphs>114</Paragraphs>
  <Slides>7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9" baseType="lpstr">
      <vt:lpstr>© Deka</vt:lpstr>
      <vt:lpstr>think-cell Folie</vt:lpstr>
      <vt:lpstr>Buchungsübersicht Data Analytics bei der S-Rating DA per 03.01.2019 | 270 von 383 Spk.</vt:lpstr>
      <vt:lpstr>Was sind aktuell die konkreten Leistungen (PK/IK) aus DataAnalytics für die Sparkassen ? </vt:lpstr>
      <vt:lpstr>Gemeinsam zur Wertpapierkampagne (PK/IK) Von der Selektion bis zum Kundenkontakt</vt:lpstr>
      <vt:lpstr>Die Anwendungsfälle Deka-Geldanlage und Deka-Sparplan sind in  Data Analytics entwickelt und verprobt und stehen in OSPlus bereit</vt:lpstr>
      <vt:lpstr>Ergebnistabelle aus OSPlus Aktuell wird die Ergebnisstabelle zum jeweiligen AWF aus dem OSPlus gezogen und dann ggf. in die Kampagnensysteme importiert</vt:lpstr>
      <vt:lpstr>Kundenauswahl optimieren und Kampagnenerfolg erhöhen Neu: Selektion der affinen Sparkassenkunden per Data Analytics*</vt:lpstr>
      <vt:lpstr>Die Ausführung der Anwendungsfälle erfolgt im OSPlus-Portal unter der Portalmaske „OSPlus-Vertrieb/Data Analytics“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mira</dc:creator>
  <cp:lastModifiedBy>Templeton &amp; Webster GmbH</cp:lastModifiedBy>
  <cp:revision>243</cp:revision>
  <cp:lastPrinted>2018-09-06T09:46:21Z</cp:lastPrinted>
  <dcterms:created xsi:type="dcterms:W3CDTF">2015-08-25T08:12:14Z</dcterms:created>
  <dcterms:modified xsi:type="dcterms:W3CDTF">2019-02-04T12:5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/>
  </property>
  <property fmtid="{D5CDD505-2E9C-101B-9397-08002B2CF9AE}" pid="3" name="tw_theme">
    <vt:lpwstr/>
  </property>
  <property fmtid="{D5CDD505-2E9C-101B-9397-08002B2CF9AE}" pid="4" name="tw_company">
    <vt:lpwstr/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/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  <property fmtid="{D5CDD505-2E9C-101B-9397-08002B2CF9AE}" pid="19" name="tw_Confidential">
    <vt:lpwstr>-1</vt:lpwstr>
  </property>
</Properties>
</file>